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327" r:id="rId1"/>
  </p:sldMasterIdLst>
  <p:notesMasterIdLst>
    <p:notesMasterId r:id="rId28"/>
  </p:notesMasterIdLst>
  <p:handoutMasterIdLst>
    <p:handoutMasterId r:id="rId29"/>
  </p:handoutMasterIdLst>
  <p:sldIdLst>
    <p:sldId id="256" r:id="rId2"/>
    <p:sldId id="257" r:id="rId3"/>
    <p:sldId id="362" r:id="rId4"/>
    <p:sldId id="331" r:id="rId5"/>
    <p:sldId id="311" r:id="rId6"/>
    <p:sldId id="295" r:id="rId7"/>
    <p:sldId id="281" r:id="rId8"/>
    <p:sldId id="372" r:id="rId9"/>
    <p:sldId id="297" r:id="rId10"/>
    <p:sldId id="290" r:id="rId11"/>
    <p:sldId id="363" r:id="rId12"/>
    <p:sldId id="364" r:id="rId13"/>
    <p:sldId id="284" r:id="rId14"/>
    <p:sldId id="301" r:id="rId15"/>
    <p:sldId id="280" r:id="rId16"/>
    <p:sldId id="367" r:id="rId17"/>
    <p:sldId id="292" r:id="rId18"/>
    <p:sldId id="368" r:id="rId19"/>
    <p:sldId id="369" r:id="rId20"/>
    <p:sldId id="370" r:id="rId21"/>
    <p:sldId id="371" r:id="rId22"/>
    <p:sldId id="360" r:id="rId23"/>
    <p:sldId id="289" r:id="rId24"/>
    <p:sldId id="260" r:id="rId25"/>
    <p:sldId id="303" r:id="rId26"/>
    <p:sldId id="333" r:id="rId27"/>
  </p:sldIdLst>
  <p:sldSz cx="9144000" cy="6858000" type="screen4x3"/>
  <p:notesSz cx="6858000" cy="9144000"/>
  <p:defaultTextStyle>
    <a:defPPr>
      <a:defRPr lang="es-E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BA0C71-BB74-442C-814F-2D90E3A29C26}" v="51" dt="2026-01-07T22:38:10.203"/>
    <p1510:client id="{C7C0923D-F400-4381-AF8D-11E2D64A744B}" v="579" dt="2026-01-07T01:08:04.50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5226" autoAdjust="0"/>
    <p:restoredTop sz="86450"/>
  </p:normalViewPr>
  <p:slideViewPr>
    <p:cSldViewPr>
      <p:cViewPr varScale="1">
        <p:scale>
          <a:sx n="59" d="100"/>
          <a:sy n="59" d="100"/>
        </p:scale>
        <p:origin x="1526" y="264"/>
      </p:cViewPr>
      <p:guideLst>
        <p:guide orient="horz" pos="2160"/>
        <p:guide pos="2880"/>
      </p:guideLst>
    </p:cSldViewPr>
  </p:slideViewPr>
  <p:outlineViewPr>
    <p:cViewPr>
      <p:scale>
        <a:sx n="33" d="100"/>
        <a:sy n="33" d="100"/>
      </p:scale>
      <p:origin x="0" y="-165"/>
    </p:cViewPr>
  </p:outlineViewPr>
  <p:notesTextViewPr>
    <p:cViewPr>
      <p:scale>
        <a:sx n="1" d="1"/>
        <a:sy n="1" d="1"/>
      </p:scale>
      <p:origin x="0" y="0"/>
    </p:cViewPr>
  </p:notesTextViewPr>
  <p:sorterViewPr>
    <p:cViewPr varScale="1">
      <p:scale>
        <a:sx n="1" d="1"/>
        <a:sy n="1" d="1"/>
      </p:scale>
      <p:origin x="0" y="-3699"/>
    </p:cViewPr>
  </p:sorterViewPr>
  <p:notesViewPr>
    <p:cSldViewPr>
      <p:cViewPr>
        <p:scale>
          <a:sx n="166" d="100"/>
          <a:sy n="166" d="100"/>
        </p:scale>
        <p:origin x="765" y="-3093"/>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C Montjoy" userId="0e120a3b0f88cb40" providerId="LiveId" clId="{37B0FAD6-8412-42FC-A49F-40C8E6AADFF7}"/>
    <pc:docChg chg="undo custSel addSld delSld modSld sldOrd modMainMaster">
      <pc:chgData name="JC Montjoy" userId="0e120a3b0f88cb40" providerId="LiveId" clId="{37B0FAD6-8412-42FC-A49F-40C8E6AADFF7}" dt="2026-01-07T01:10:16.582" v="5454" actId="20577"/>
      <pc:docMkLst>
        <pc:docMk/>
      </pc:docMkLst>
      <pc:sldChg chg="modSp add del mod">
        <pc:chgData name="JC Montjoy" userId="0e120a3b0f88cb40" providerId="LiveId" clId="{37B0FAD6-8412-42FC-A49F-40C8E6AADFF7}" dt="2026-01-06T22:54:52.782" v="3395" actId="2696"/>
        <pc:sldMkLst>
          <pc:docMk/>
          <pc:sldMk cId="0" sldId="256"/>
        </pc:sldMkLst>
        <pc:spChg chg="mod">
          <ac:chgData name="JC Montjoy" userId="0e120a3b0f88cb40" providerId="LiveId" clId="{37B0FAD6-8412-42FC-A49F-40C8E6AADFF7}" dt="2026-01-06T13:37:04.624" v="64" actId="27636"/>
          <ac:spMkLst>
            <pc:docMk/>
            <pc:sldMk cId="0" sldId="256"/>
            <ac:spMk id="3" creationId="{00000000-0000-0000-0000-000000000000}"/>
          </ac:spMkLst>
        </pc:spChg>
      </pc:sldChg>
      <pc:sldChg chg="modSp add mod">
        <pc:chgData name="JC Montjoy" userId="0e120a3b0f88cb40" providerId="LiveId" clId="{37B0FAD6-8412-42FC-A49F-40C8E6AADFF7}" dt="2026-01-06T22:56:25.049" v="3504" actId="20577"/>
        <pc:sldMkLst>
          <pc:docMk/>
          <pc:sldMk cId="3344970370" sldId="256"/>
        </pc:sldMkLst>
        <pc:spChg chg="mod">
          <ac:chgData name="JC Montjoy" userId="0e120a3b0f88cb40" providerId="LiveId" clId="{37B0FAD6-8412-42FC-A49F-40C8E6AADFF7}" dt="2026-01-06T22:56:25.049" v="3504" actId="20577"/>
          <ac:spMkLst>
            <pc:docMk/>
            <pc:sldMk cId="3344970370" sldId="256"/>
            <ac:spMk id="3" creationId="{00000000-0000-0000-0000-000000000000}"/>
          </ac:spMkLst>
        </pc:spChg>
      </pc:sldChg>
      <pc:sldChg chg="add del">
        <pc:chgData name="JC Montjoy" userId="0e120a3b0f88cb40" providerId="LiveId" clId="{37B0FAD6-8412-42FC-A49F-40C8E6AADFF7}" dt="2026-01-06T22:58:24.881" v="3508" actId="2696"/>
        <pc:sldMkLst>
          <pc:docMk/>
          <pc:sldMk cId="0" sldId="257"/>
        </pc:sldMkLst>
      </pc:sldChg>
      <pc:sldChg chg="modSp add mod modShow">
        <pc:chgData name="JC Montjoy" userId="0e120a3b0f88cb40" providerId="LiveId" clId="{37B0FAD6-8412-42FC-A49F-40C8E6AADFF7}" dt="2026-01-07T01:08:53.058" v="5439" actId="20577"/>
        <pc:sldMkLst>
          <pc:docMk/>
          <pc:sldMk cId="1546771385" sldId="257"/>
        </pc:sldMkLst>
        <pc:spChg chg="mod">
          <ac:chgData name="JC Montjoy" userId="0e120a3b0f88cb40" providerId="LiveId" clId="{37B0FAD6-8412-42FC-A49F-40C8E6AADFF7}" dt="2026-01-07T01:08:53.058" v="5439" actId="20577"/>
          <ac:spMkLst>
            <pc:docMk/>
            <pc:sldMk cId="1546771385" sldId="257"/>
            <ac:spMk id="3" creationId="{00000000-0000-0000-0000-000000000000}"/>
          </ac:spMkLst>
        </pc:spChg>
      </pc:sldChg>
      <pc:sldChg chg="add del">
        <pc:chgData name="JC Montjoy" userId="0e120a3b0f88cb40" providerId="LiveId" clId="{37B0FAD6-8412-42FC-A49F-40C8E6AADFF7}" dt="2026-01-06T23:22:13.249" v="4032" actId="47"/>
        <pc:sldMkLst>
          <pc:docMk/>
          <pc:sldMk cId="0" sldId="258"/>
        </pc:sldMkLst>
      </pc:sldChg>
      <pc:sldChg chg="add del">
        <pc:chgData name="JC Montjoy" userId="0e120a3b0f88cb40" providerId="LiveId" clId="{37B0FAD6-8412-42FC-A49F-40C8E6AADFF7}" dt="2026-01-06T23:21:32.190" v="4027" actId="47"/>
        <pc:sldMkLst>
          <pc:docMk/>
          <pc:sldMk cId="0" sldId="259"/>
        </pc:sldMkLst>
      </pc:sldChg>
      <pc:sldChg chg="addSp delSp modSp add del mod ord setBg">
        <pc:chgData name="JC Montjoy" userId="0e120a3b0f88cb40" providerId="LiveId" clId="{37B0FAD6-8412-42FC-A49F-40C8E6AADFF7}" dt="2026-01-07T01:00:01.006" v="5392" actId="14100"/>
        <pc:sldMkLst>
          <pc:docMk/>
          <pc:sldMk cId="0" sldId="260"/>
        </pc:sldMkLst>
        <pc:spChg chg="mod">
          <ac:chgData name="JC Montjoy" userId="0e120a3b0f88cb40" providerId="LiveId" clId="{37B0FAD6-8412-42FC-A49F-40C8E6AADFF7}" dt="2026-01-07T00:59:49.600" v="5355" actId="948"/>
          <ac:spMkLst>
            <pc:docMk/>
            <pc:sldMk cId="0" sldId="260"/>
            <ac:spMk id="2" creationId="{00000000-0000-0000-0000-000000000000}"/>
          </ac:spMkLst>
        </pc:spChg>
        <pc:spChg chg="mod">
          <ac:chgData name="JC Montjoy" userId="0e120a3b0f88cb40" providerId="LiveId" clId="{37B0FAD6-8412-42FC-A49F-40C8E6AADFF7}" dt="2026-01-07T00:59:49.037" v="5354" actId="26606"/>
          <ac:spMkLst>
            <pc:docMk/>
            <pc:sldMk cId="0" sldId="260"/>
            <ac:spMk id="3" creationId="{00000000-0000-0000-0000-000000000000}"/>
          </ac:spMkLst>
        </pc:spChg>
        <pc:spChg chg="add del mod modVis">
          <ac:chgData name="JC Montjoy" userId="0e120a3b0f88cb40" providerId="LiveId" clId="{37B0FAD6-8412-42FC-A49F-40C8E6AADFF7}" dt="2026-01-07T00:59:48.234" v="5352" actId="962"/>
          <ac:spMkLst>
            <pc:docMk/>
            <pc:sldMk cId="0" sldId="260"/>
            <ac:spMk id="4" creationId="{AC863E45-A1B9-D71E-5AFD-BA5183312772}"/>
          </ac:spMkLst>
        </pc:spChg>
        <pc:spChg chg="add del mod modVis">
          <ac:chgData name="JC Montjoy" userId="0e120a3b0f88cb40" providerId="LiveId" clId="{37B0FAD6-8412-42FC-A49F-40C8E6AADFF7}" dt="2026-01-07T00:59:49.656" v="5376"/>
          <ac:spMkLst>
            <pc:docMk/>
            <pc:sldMk cId="0" sldId="260"/>
            <ac:spMk id="6" creationId="{910F33D7-BF20-13D3-0722-E4D1D9DC1A0E}"/>
          </ac:spMkLst>
        </pc:spChg>
        <pc:spChg chg="add del">
          <ac:chgData name="JC Montjoy" userId="0e120a3b0f88cb40" providerId="LiveId" clId="{37B0FAD6-8412-42FC-A49F-40C8E6AADFF7}" dt="2026-01-07T00:59:49.037" v="5354" actId="26606"/>
          <ac:spMkLst>
            <pc:docMk/>
            <pc:sldMk cId="0" sldId="260"/>
            <ac:spMk id="1039" creationId="{DB56CED6-ACD4-43B1-BE53-1B579E8C6EFB}"/>
          </ac:spMkLst>
        </pc:spChg>
        <pc:spChg chg="add del">
          <ac:chgData name="JC Montjoy" userId="0e120a3b0f88cb40" providerId="LiveId" clId="{37B0FAD6-8412-42FC-A49F-40C8E6AADFF7}" dt="2026-01-07T00:59:49.037" v="5354" actId="26606"/>
          <ac:spMkLst>
            <pc:docMk/>
            <pc:sldMk cId="0" sldId="260"/>
            <ac:spMk id="1047" creationId="{4568A54B-9065-40B2-8753-8E0288E828A3}"/>
          </ac:spMkLst>
        </pc:spChg>
        <pc:spChg chg="add del">
          <ac:chgData name="JC Montjoy" userId="0e120a3b0f88cb40" providerId="LiveId" clId="{37B0FAD6-8412-42FC-A49F-40C8E6AADFF7}" dt="2026-01-07T00:59:49.037" v="5354" actId="26606"/>
          <ac:spMkLst>
            <pc:docMk/>
            <pc:sldMk cId="0" sldId="260"/>
            <ac:spMk id="1051" creationId="{A2BED43D-FF5E-4233-9D4F-A509B56034A5}"/>
          </ac:spMkLst>
        </pc:spChg>
        <pc:graphicFrameChg chg="add mod ord modVis">
          <ac:chgData name="JC Montjoy" userId="0e120a3b0f88cb40" providerId="LiveId" clId="{37B0FAD6-8412-42FC-A49F-40C8E6AADFF7}" dt="2026-01-07T00:59:48.210" v="5338" actId="14100"/>
          <ac:graphicFrameMkLst>
            <pc:docMk/>
            <pc:sldMk cId="0" sldId="260"/>
            <ac:graphicFrameMk id="5" creationId="{30B7FC79-70A2-C1DD-8E1C-F34D47D3CE54}"/>
          </ac:graphicFrameMkLst>
        </pc:graphicFrameChg>
        <pc:graphicFrameChg chg="add mod ord modVis">
          <ac:chgData name="JC Montjoy" userId="0e120a3b0f88cb40" providerId="LiveId" clId="{37B0FAD6-8412-42FC-A49F-40C8E6AADFF7}" dt="2026-01-07T00:59:49.725" v="5390"/>
          <ac:graphicFrameMkLst>
            <pc:docMk/>
            <pc:sldMk cId="0" sldId="260"/>
            <ac:graphicFrameMk id="7" creationId="{446A63A4-00B4-42F7-F0B2-187A5517698E}"/>
          </ac:graphicFrameMkLst>
        </pc:graphicFrameChg>
        <pc:picChg chg="add mod">
          <ac:chgData name="JC Montjoy" userId="0e120a3b0f88cb40" providerId="LiveId" clId="{37B0FAD6-8412-42FC-A49F-40C8E6AADFF7}" dt="2026-01-07T01:00:01.006" v="5392" actId="14100"/>
          <ac:picMkLst>
            <pc:docMk/>
            <pc:sldMk cId="0" sldId="260"/>
            <ac:picMk id="1034" creationId="{7FA26614-D903-F211-17B8-0305C66172FD}"/>
          </ac:picMkLst>
        </pc:picChg>
        <pc:picChg chg="add del">
          <ac:chgData name="JC Montjoy" userId="0e120a3b0f88cb40" providerId="LiveId" clId="{37B0FAD6-8412-42FC-A49F-40C8E6AADFF7}" dt="2026-01-07T00:59:49.037" v="5354" actId="26606"/>
          <ac:picMkLst>
            <pc:docMk/>
            <pc:sldMk cId="0" sldId="260"/>
            <ac:picMk id="1041" creationId="{5B451061-F85B-40DB-92DA-1FD61C70C3F0}"/>
          </ac:picMkLst>
        </pc:picChg>
        <pc:picChg chg="add del">
          <ac:chgData name="JC Montjoy" userId="0e120a3b0f88cb40" providerId="LiveId" clId="{37B0FAD6-8412-42FC-A49F-40C8E6AADFF7}" dt="2026-01-07T00:59:49.037" v="5354" actId="26606"/>
          <ac:picMkLst>
            <pc:docMk/>
            <pc:sldMk cId="0" sldId="260"/>
            <ac:picMk id="1053" creationId="{051D0F8B-A6FE-4009-88A1-49ABE7CEF2AC}"/>
          </ac:picMkLst>
        </pc:picChg>
        <pc:cxnChg chg="add del">
          <ac:chgData name="JC Montjoy" userId="0e120a3b0f88cb40" providerId="LiveId" clId="{37B0FAD6-8412-42FC-A49F-40C8E6AADFF7}" dt="2026-01-07T00:59:49.037" v="5354" actId="26606"/>
          <ac:cxnSpMkLst>
            <pc:docMk/>
            <pc:sldMk cId="0" sldId="260"/>
            <ac:cxnSpMk id="1049" creationId="{515F3B72-790F-4B1A-90DE-5EC31C829B9E}"/>
          </ac:cxnSpMkLst>
        </pc:cxnChg>
        <pc:cxnChg chg="add del">
          <ac:chgData name="JC Montjoy" userId="0e120a3b0f88cb40" providerId="LiveId" clId="{37B0FAD6-8412-42FC-A49F-40C8E6AADFF7}" dt="2026-01-07T00:59:49.037" v="5354" actId="26606"/>
          <ac:cxnSpMkLst>
            <pc:docMk/>
            <pc:sldMk cId="0" sldId="260"/>
            <ac:cxnSpMk id="1055" creationId="{4C5057B3-E936-43A2-9EEE-514EF0434FE2}"/>
          </ac:cxnSpMkLst>
        </pc:cxnChg>
      </pc:sldChg>
      <pc:sldChg chg="add del">
        <pc:chgData name="JC Montjoy" userId="0e120a3b0f88cb40" providerId="LiveId" clId="{37B0FAD6-8412-42FC-A49F-40C8E6AADFF7}" dt="2026-01-06T23:22:35.640" v="4033" actId="47"/>
        <pc:sldMkLst>
          <pc:docMk/>
          <pc:sldMk cId="0" sldId="261"/>
        </pc:sldMkLst>
      </pc:sldChg>
      <pc:sldChg chg="add del ord">
        <pc:chgData name="JC Montjoy" userId="0e120a3b0f88cb40" providerId="LiveId" clId="{37B0FAD6-8412-42FC-A49F-40C8E6AADFF7}" dt="2026-01-07T00:29:03.603" v="4575" actId="47"/>
        <pc:sldMkLst>
          <pc:docMk/>
          <pc:sldMk cId="0" sldId="262"/>
        </pc:sldMkLst>
      </pc:sldChg>
      <pc:sldChg chg="add del">
        <pc:chgData name="JC Montjoy" userId="0e120a3b0f88cb40" providerId="LiveId" clId="{37B0FAD6-8412-42FC-A49F-40C8E6AADFF7}" dt="2026-01-07T00:35:09.265" v="4591" actId="47"/>
        <pc:sldMkLst>
          <pc:docMk/>
          <pc:sldMk cId="0" sldId="263"/>
        </pc:sldMkLst>
      </pc:sldChg>
      <pc:sldChg chg="modSp del mod">
        <pc:chgData name="JC Montjoy" userId="0e120a3b0f88cb40" providerId="LiveId" clId="{37B0FAD6-8412-42FC-A49F-40C8E6AADFF7}" dt="2026-01-06T22:54:18.385" v="3391" actId="47"/>
        <pc:sldMkLst>
          <pc:docMk/>
          <pc:sldMk cId="0" sldId="264"/>
        </pc:sldMkLst>
        <pc:spChg chg="mod">
          <ac:chgData name="JC Montjoy" userId="0e120a3b0f88cb40" providerId="LiveId" clId="{37B0FAD6-8412-42FC-A49F-40C8E6AADFF7}" dt="2026-01-06T22:53:38.477" v="3385" actId="21"/>
          <ac:spMkLst>
            <pc:docMk/>
            <pc:sldMk cId="0" sldId="264"/>
            <ac:spMk id="15362" creationId="{00000000-0000-0000-0000-000000000000}"/>
          </ac:spMkLst>
        </pc:spChg>
      </pc:sldChg>
      <pc:sldChg chg="add del">
        <pc:chgData name="JC Montjoy" userId="0e120a3b0f88cb40" providerId="LiveId" clId="{37B0FAD6-8412-42FC-A49F-40C8E6AADFF7}" dt="2026-01-07T00:38:01.407" v="4592" actId="47"/>
        <pc:sldMkLst>
          <pc:docMk/>
          <pc:sldMk cId="0" sldId="265"/>
        </pc:sldMkLst>
      </pc:sldChg>
      <pc:sldChg chg="del">
        <pc:chgData name="JC Montjoy" userId="0e120a3b0f88cb40" providerId="LiveId" clId="{37B0FAD6-8412-42FC-A49F-40C8E6AADFF7}" dt="2026-01-06T22:54:24.471" v="3392" actId="47"/>
        <pc:sldMkLst>
          <pc:docMk/>
          <pc:sldMk cId="0" sldId="266"/>
        </pc:sldMkLst>
      </pc:sldChg>
      <pc:sldChg chg="add del">
        <pc:chgData name="JC Montjoy" userId="0e120a3b0f88cb40" providerId="LiveId" clId="{37B0FAD6-8412-42FC-A49F-40C8E6AADFF7}" dt="2026-01-07T00:57:15.805" v="5286" actId="47"/>
        <pc:sldMkLst>
          <pc:docMk/>
          <pc:sldMk cId="0" sldId="267"/>
        </pc:sldMkLst>
      </pc:sldChg>
      <pc:sldChg chg="add del">
        <pc:chgData name="JC Montjoy" userId="0e120a3b0f88cb40" providerId="LiveId" clId="{37B0FAD6-8412-42FC-A49F-40C8E6AADFF7}" dt="2026-01-07T00:57:15.805" v="5286" actId="47"/>
        <pc:sldMkLst>
          <pc:docMk/>
          <pc:sldMk cId="0" sldId="268"/>
        </pc:sldMkLst>
      </pc:sldChg>
      <pc:sldChg chg="add del">
        <pc:chgData name="JC Montjoy" userId="0e120a3b0f88cb40" providerId="LiveId" clId="{37B0FAD6-8412-42FC-A49F-40C8E6AADFF7}" dt="2026-01-07T00:57:15.805" v="5286" actId="47"/>
        <pc:sldMkLst>
          <pc:docMk/>
          <pc:sldMk cId="0" sldId="269"/>
        </pc:sldMkLst>
      </pc:sldChg>
      <pc:sldChg chg="add del">
        <pc:chgData name="JC Montjoy" userId="0e120a3b0f88cb40" providerId="LiveId" clId="{37B0FAD6-8412-42FC-A49F-40C8E6AADFF7}" dt="2026-01-07T00:57:15.805" v="5286" actId="47"/>
        <pc:sldMkLst>
          <pc:docMk/>
          <pc:sldMk cId="0" sldId="270"/>
        </pc:sldMkLst>
      </pc:sldChg>
      <pc:sldChg chg="add del">
        <pc:chgData name="JC Montjoy" userId="0e120a3b0f88cb40" providerId="LiveId" clId="{37B0FAD6-8412-42FC-A49F-40C8E6AADFF7}" dt="2026-01-07T00:57:15.805" v="5286" actId="47"/>
        <pc:sldMkLst>
          <pc:docMk/>
          <pc:sldMk cId="0" sldId="271"/>
        </pc:sldMkLst>
      </pc:sldChg>
      <pc:sldChg chg="add del">
        <pc:chgData name="JC Montjoy" userId="0e120a3b0f88cb40" providerId="LiveId" clId="{37B0FAD6-8412-42FC-A49F-40C8E6AADFF7}" dt="2026-01-07T00:57:15.805" v="5286" actId="47"/>
        <pc:sldMkLst>
          <pc:docMk/>
          <pc:sldMk cId="0" sldId="272"/>
        </pc:sldMkLst>
      </pc:sldChg>
      <pc:sldChg chg="add del">
        <pc:chgData name="JC Montjoy" userId="0e120a3b0f88cb40" providerId="LiveId" clId="{37B0FAD6-8412-42FC-A49F-40C8E6AADFF7}" dt="2026-01-07T00:57:15.805" v="5286" actId="47"/>
        <pc:sldMkLst>
          <pc:docMk/>
          <pc:sldMk cId="0" sldId="273"/>
        </pc:sldMkLst>
      </pc:sldChg>
      <pc:sldChg chg="modSp add del mod">
        <pc:chgData name="JC Montjoy" userId="0e120a3b0f88cb40" providerId="LiveId" clId="{37B0FAD6-8412-42FC-A49F-40C8E6AADFF7}" dt="2026-01-07T00:57:15.805" v="5286" actId="47"/>
        <pc:sldMkLst>
          <pc:docMk/>
          <pc:sldMk cId="0" sldId="275"/>
        </pc:sldMkLst>
        <pc:spChg chg="mod">
          <ac:chgData name="JC Montjoy" userId="0e120a3b0f88cb40" providerId="LiveId" clId="{37B0FAD6-8412-42FC-A49F-40C8E6AADFF7}" dt="2026-01-06T13:37:04.746" v="68" actId="27636"/>
          <ac:spMkLst>
            <pc:docMk/>
            <pc:sldMk cId="0" sldId="275"/>
            <ac:spMk id="2" creationId="{00000000-0000-0000-0000-000000000000}"/>
          </ac:spMkLst>
        </pc:spChg>
      </pc:sldChg>
      <pc:sldChg chg="add del">
        <pc:chgData name="JC Montjoy" userId="0e120a3b0f88cb40" providerId="LiveId" clId="{37B0FAD6-8412-42FC-A49F-40C8E6AADFF7}" dt="2026-01-07T00:57:15.805" v="5286" actId="47"/>
        <pc:sldMkLst>
          <pc:docMk/>
          <pc:sldMk cId="0" sldId="276"/>
        </pc:sldMkLst>
      </pc:sldChg>
      <pc:sldChg chg="modSp add del mod">
        <pc:chgData name="JC Montjoy" userId="0e120a3b0f88cb40" providerId="LiveId" clId="{37B0FAD6-8412-42FC-A49F-40C8E6AADFF7}" dt="2026-01-07T00:57:17.865" v="5287" actId="47"/>
        <pc:sldMkLst>
          <pc:docMk/>
          <pc:sldMk cId="0" sldId="277"/>
        </pc:sldMkLst>
        <pc:spChg chg="mod">
          <ac:chgData name="JC Montjoy" userId="0e120a3b0f88cb40" providerId="LiveId" clId="{37B0FAD6-8412-42FC-A49F-40C8E6AADFF7}" dt="2026-01-06T13:37:04.765" v="69" actId="27636"/>
          <ac:spMkLst>
            <pc:docMk/>
            <pc:sldMk cId="0" sldId="277"/>
            <ac:spMk id="2" creationId="{00000000-0000-0000-0000-000000000000}"/>
          </ac:spMkLst>
        </pc:spChg>
      </pc:sldChg>
      <pc:sldChg chg="del">
        <pc:chgData name="JC Montjoy" userId="0e120a3b0f88cb40" providerId="LiveId" clId="{37B0FAD6-8412-42FC-A49F-40C8E6AADFF7}" dt="2026-01-06T23:16:48.537" v="3779" actId="47"/>
        <pc:sldMkLst>
          <pc:docMk/>
          <pc:sldMk cId="0" sldId="278"/>
        </pc:sldMkLst>
      </pc:sldChg>
      <pc:sldChg chg="add del">
        <pc:chgData name="JC Montjoy" userId="0e120a3b0f88cb40" providerId="LiveId" clId="{37B0FAD6-8412-42FC-A49F-40C8E6AADFF7}" dt="2026-01-07T00:57:24.061" v="5289" actId="47"/>
        <pc:sldMkLst>
          <pc:docMk/>
          <pc:sldMk cId="0" sldId="279"/>
        </pc:sldMkLst>
      </pc:sldChg>
      <pc:sldChg chg="add">
        <pc:chgData name="JC Montjoy" userId="0e120a3b0f88cb40" providerId="LiveId" clId="{37B0FAD6-8412-42FC-A49F-40C8E6AADFF7}" dt="2026-01-07T01:02:27.525" v="5398"/>
        <pc:sldMkLst>
          <pc:docMk/>
          <pc:sldMk cId="1893416625" sldId="280"/>
        </pc:sldMkLst>
      </pc:sldChg>
      <pc:sldChg chg="add del">
        <pc:chgData name="JC Montjoy" userId="0e120a3b0f88cb40" providerId="LiveId" clId="{37B0FAD6-8412-42FC-A49F-40C8E6AADFF7}" dt="2026-01-07T01:02:24.113" v="5397" actId="2696"/>
        <pc:sldMkLst>
          <pc:docMk/>
          <pc:sldMk cId="3562601956" sldId="280"/>
        </pc:sldMkLst>
      </pc:sldChg>
      <pc:sldChg chg="addSp delSp modSp mod">
        <pc:chgData name="JC Montjoy" userId="0e120a3b0f88cb40" providerId="LiveId" clId="{37B0FAD6-8412-42FC-A49F-40C8E6AADFF7}" dt="2026-01-06T15:04:41.769" v="208"/>
        <pc:sldMkLst>
          <pc:docMk/>
          <pc:sldMk cId="0" sldId="281"/>
        </pc:sldMkLst>
        <pc:spChg chg="add del mod modVis">
          <ac:chgData name="JC Montjoy" userId="0e120a3b0f88cb40" providerId="LiveId" clId="{37B0FAD6-8412-42FC-A49F-40C8E6AADFF7}" dt="2026-01-06T15:04:41.156" v="169"/>
          <ac:spMkLst>
            <pc:docMk/>
            <pc:sldMk cId="0" sldId="281"/>
            <ac:spMk id="2" creationId="{D0DC6101-F8FA-5A33-B823-44C6A3818648}"/>
          </ac:spMkLst>
        </pc:spChg>
        <pc:spChg chg="add del mod modVis">
          <ac:chgData name="JC Montjoy" userId="0e120a3b0f88cb40" providerId="LiveId" clId="{37B0FAD6-8412-42FC-A49F-40C8E6AADFF7}" dt="2026-01-06T15:04:41.769" v="206"/>
          <ac:spMkLst>
            <pc:docMk/>
            <pc:sldMk cId="0" sldId="281"/>
            <ac:spMk id="4" creationId="{3DEC763C-BFAC-4128-7AAD-D2C6FE447A66}"/>
          </ac:spMkLst>
        </pc:spChg>
        <pc:spChg chg="mod">
          <ac:chgData name="JC Montjoy" userId="0e120a3b0f88cb40" providerId="LiveId" clId="{37B0FAD6-8412-42FC-A49F-40C8E6AADFF7}" dt="2026-01-06T15:04:41.751" v="185" actId="948"/>
          <ac:spMkLst>
            <pc:docMk/>
            <pc:sldMk cId="0" sldId="281"/>
            <ac:spMk id="5" creationId="{00000000-0000-0000-0000-000000000000}"/>
          </ac:spMkLst>
        </pc:spChg>
        <pc:graphicFrameChg chg="add mod ord modVis">
          <ac:chgData name="JC Montjoy" userId="0e120a3b0f88cb40" providerId="LiveId" clId="{37B0FAD6-8412-42FC-A49F-40C8E6AADFF7}" dt="2026-01-06T15:04:41.769" v="208"/>
          <ac:graphicFrameMkLst>
            <pc:docMk/>
            <pc:sldMk cId="0" sldId="281"/>
            <ac:graphicFrameMk id="3" creationId="{4179CE34-7C9F-7550-92D2-96A270A31339}"/>
          </ac:graphicFrameMkLst>
        </pc:graphicFrameChg>
      </pc:sldChg>
      <pc:sldChg chg="addSp delSp modSp mod setBg">
        <pc:chgData name="JC Montjoy" userId="0e120a3b0f88cb40" providerId="LiveId" clId="{37B0FAD6-8412-42FC-A49F-40C8E6AADFF7}" dt="2026-01-06T22:54:00.531" v="3390" actId="114"/>
        <pc:sldMkLst>
          <pc:docMk/>
          <pc:sldMk cId="0" sldId="284"/>
        </pc:sldMkLst>
        <pc:spChg chg="add del mod modVis">
          <ac:chgData name="JC Montjoy" userId="0e120a3b0f88cb40" providerId="LiveId" clId="{37B0FAD6-8412-42FC-A49F-40C8E6AADFF7}" dt="2026-01-06T22:51:18.098" v="3344" actId="962"/>
          <ac:spMkLst>
            <pc:docMk/>
            <pc:sldMk cId="0" sldId="284"/>
            <ac:spMk id="2" creationId="{3CBBCA46-244C-B9B5-FCD1-A5DF248153C9}"/>
          </ac:spMkLst>
        </pc:spChg>
        <pc:spChg chg="add del mod modVis">
          <ac:chgData name="JC Montjoy" userId="0e120a3b0f88cb40" providerId="LiveId" clId="{37B0FAD6-8412-42FC-A49F-40C8E6AADFF7}" dt="2026-01-06T22:51:19.448" v="3368"/>
          <ac:spMkLst>
            <pc:docMk/>
            <pc:sldMk cId="0" sldId="284"/>
            <ac:spMk id="4" creationId="{B6C1C0EB-F6CF-D920-AED8-6F9B17FD1DD3}"/>
          </ac:spMkLst>
        </pc:spChg>
        <pc:spChg chg="mod">
          <ac:chgData name="JC Montjoy" userId="0e120a3b0f88cb40" providerId="LiveId" clId="{37B0FAD6-8412-42FC-A49F-40C8E6AADFF7}" dt="2026-01-06T22:51:19.404" v="3347" actId="948"/>
          <ac:spMkLst>
            <pc:docMk/>
            <pc:sldMk cId="0" sldId="284"/>
            <ac:spMk id="5" creationId="{00000000-0000-0000-0000-000000000000}"/>
          </ac:spMkLst>
        </pc:spChg>
        <pc:spChg chg="add mod">
          <ac:chgData name="JC Montjoy" userId="0e120a3b0f88cb40" providerId="LiveId" clId="{37B0FAD6-8412-42FC-A49F-40C8E6AADFF7}" dt="2026-01-06T22:54:00.531" v="3390" actId="114"/>
          <ac:spMkLst>
            <pc:docMk/>
            <pc:sldMk cId="0" sldId="284"/>
            <ac:spMk id="8" creationId="{5818B4CB-0A7E-6491-E32F-0C6950C06B13}"/>
          </ac:spMkLst>
        </pc:spChg>
        <pc:spChg chg="mod ord">
          <ac:chgData name="JC Montjoy" userId="0e120a3b0f88cb40" providerId="LiveId" clId="{37B0FAD6-8412-42FC-A49F-40C8E6AADFF7}" dt="2026-01-06T22:51:18.849" v="3346" actId="26606"/>
          <ac:spMkLst>
            <pc:docMk/>
            <pc:sldMk cId="0" sldId="284"/>
            <ac:spMk id="15362" creationId="{00000000-0000-0000-0000-000000000000}"/>
          </ac:spMkLst>
        </pc:spChg>
        <pc:spChg chg="add del">
          <ac:chgData name="JC Montjoy" userId="0e120a3b0f88cb40" providerId="LiveId" clId="{37B0FAD6-8412-42FC-A49F-40C8E6AADFF7}" dt="2026-01-06T22:51:18.849" v="3346" actId="26606"/>
          <ac:spMkLst>
            <pc:docMk/>
            <pc:sldMk cId="0" sldId="284"/>
            <ac:spMk id="15367" creationId="{DB56CED6-ACD4-43B1-BE53-1B579E8C6EFB}"/>
          </ac:spMkLst>
        </pc:spChg>
        <pc:spChg chg="add del">
          <ac:chgData name="JC Montjoy" userId="0e120a3b0f88cb40" providerId="LiveId" clId="{37B0FAD6-8412-42FC-A49F-40C8E6AADFF7}" dt="2026-01-06T22:51:18.849" v="3346" actId="26606"/>
          <ac:spMkLst>
            <pc:docMk/>
            <pc:sldMk cId="0" sldId="284"/>
            <ac:spMk id="15375" creationId="{4568A54B-9065-40B2-8753-8E0288E828A3}"/>
          </ac:spMkLst>
        </pc:spChg>
        <pc:spChg chg="add del">
          <ac:chgData name="JC Montjoy" userId="0e120a3b0f88cb40" providerId="LiveId" clId="{37B0FAD6-8412-42FC-A49F-40C8E6AADFF7}" dt="2026-01-06T22:51:18.849" v="3346" actId="26606"/>
          <ac:spMkLst>
            <pc:docMk/>
            <pc:sldMk cId="0" sldId="284"/>
            <ac:spMk id="15379" creationId="{A2BED43D-FF5E-4233-9D4F-A509B56034A5}"/>
          </ac:spMkLst>
        </pc:spChg>
        <pc:graphicFrameChg chg="add mod ord modVis">
          <ac:chgData name="JC Montjoy" userId="0e120a3b0f88cb40" providerId="LiveId" clId="{37B0FAD6-8412-42FC-A49F-40C8E6AADFF7}" dt="2026-01-06T22:51:18.085" v="3330" actId="14100"/>
          <ac:graphicFrameMkLst>
            <pc:docMk/>
            <pc:sldMk cId="0" sldId="284"/>
            <ac:graphicFrameMk id="3" creationId="{8F269BB4-E67E-BA21-3051-DC520181B11C}"/>
          </ac:graphicFrameMkLst>
        </pc:graphicFrameChg>
        <pc:graphicFrameChg chg="add mod ord modVis">
          <ac:chgData name="JC Montjoy" userId="0e120a3b0f88cb40" providerId="LiveId" clId="{37B0FAD6-8412-42FC-A49F-40C8E6AADFF7}" dt="2026-01-06T22:51:19.507" v="3382"/>
          <ac:graphicFrameMkLst>
            <pc:docMk/>
            <pc:sldMk cId="0" sldId="284"/>
            <ac:graphicFrameMk id="6" creationId="{838BA167-9463-ECD1-92F4-DEDE6EA460B1}"/>
          </ac:graphicFrameMkLst>
        </pc:graphicFrameChg>
        <pc:picChg chg="add mod">
          <ac:chgData name="JC Montjoy" userId="0e120a3b0f88cb40" providerId="LiveId" clId="{37B0FAD6-8412-42FC-A49F-40C8E6AADFF7}" dt="2026-01-06T22:51:24.417" v="3383" actId="14100"/>
          <ac:picMkLst>
            <pc:docMk/>
            <pc:sldMk cId="0" sldId="284"/>
            <ac:picMk id="4098" creationId="{E380563B-26B1-3F05-94F8-44F60F0B2925}"/>
          </ac:picMkLst>
        </pc:picChg>
        <pc:picChg chg="add del">
          <ac:chgData name="JC Montjoy" userId="0e120a3b0f88cb40" providerId="LiveId" clId="{37B0FAD6-8412-42FC-A49F-40C8E6AADFF7}" dt="2026-01-06T22:51:18.849" v="3346" actId="26606"/>
          <ac:picMkLst>
            <pc:docMk/>
            <pc:sldMk cId="0" sldId="284"/>
            <ac:picMk id="15369" creationId="{5B451061-F85B-40DB-92DA-1FD61C70C3F0}"/>
          </ac:picMkLst>
        </pc:picChg>
        <pc:picChg chg="add del">
          <ac:chgData name="JC Montjoy" userId="0e120a3b0f88cb40" providerId="LiveId" clId="{37B0FAD6-8412-42FC-A49F-40C8E6AADFF7}" dt="2026-01-06T22:51:18.849" v="3346" actId="26606"/>
          <ac:picMkLst>
            <pc:docMk/>
            <pc:sldMk cId="0" sldId="284"/>
            <ac:picMk id="15381" creationId="{051D0F8B-A6FE-4009-88A1-49ABE7CEF2AC}"/>
          </ac:picMkLst>
        </pc:picChg>
        <pc:cxnChg chg="add del">
          <ac:chgData name="JC Montjoy" userId="0e120a3b0f88cb40" providerId="LiveId" clId="{37B0FAD6-8412-42FC-A49F-40C8E6AADFF7}" dt="2026-01-06T22:51:18.849" v="3346" actId="26606"/>
          <ac:cxnSpMkLst>
            <pc:docMk/>
            <pc:sldMk cId="0" sldId="284"/>
            <ac:cxnSpMk id="15371" creationId="{D1F836F1-51D4-4090-8E0D-97877F036097}"/>
          </ac:cxnSpMkLst>
        </pc:cxnChg>
        <pc:cxnChg chg="add del">
          <ac:chgData name="JC Montjoy" userId="0e120a3b0f88cb40" providerId="LiveId" clId="{37B0FAD6-8412-42FC-A49F-40C8E6AADFF7}" dt="2026-01-06T22:51:18.849" v="3346" actId="26606"/>
          <ac:cxnSpMkLst>
            <pc:docMk/>
            <pc:sldMk cId="0" sldId="284"/>
            <ac:cxnSpMk id="15373" creationId="{6A01027E-B10F-4212-8A7C-18D3714617FA}"/>
          </ac:cxnSpMkLst>
        </pc:cxnChg>
      </pc:sldChg>
      <pc:sldChg chg="addSp delSp modSp mod">
        <pc:chgData name="JC Montjoy" userId="0e120a3b0f88cb40" providerId="LiveId" clId="{37B0FAD6-8412-42FC-A49F-40C8E6AADFF7}" dt="2026-01-06T23:38:25.798" v="4170" actId="14100"/>
        <pc:sldMkLst>
          <pc:docMk/>
          <pc:sldMk cId="2498890062" sldId="289"/>
        </pc:sldMkLst>
        <pc:spChg chg="add del mod modVis">
          <ac:chgData name="JC Montjoy" userId="0e120a3b0f88cb40" providerId="LiveId" clId="{37B0FAD6-8412-42FC-A49F-40C8E6AADFF7}" dt="2026-01-06T23:17:18.369" v="3830"/>
          <ac:spMkLst>
            <pc:docMk/>
            <pc:sldMk cId="2498890062" sldId="289"/>
            <ac:spMk id="2" creationId="{4E236527-505C-A2B4-CF27-8EC5FFD6B3CF}"/>
          </ac:spMkLst>
        </pc:spChg>
        <pc:spChg chg="add del mod modVis">
          <ac:chgData name="JC Montjoy" userId="0e120a3b0f88cb40" providerId="LiveId" clId="{37B0FAD6-8412-42FC-A49F-40C8E6AADFF7}" dt="2026-01-06T23:17:21.523" v="3867"/>
          <ac:spMkLst>
            <pc:docMk/>
            <pc:sldMk cId="2498890062" sldId="289"/>
            <ac:spMk id="4" creationId="{DDE91EFD-4ED1-8EBD-9D9B-E60A4AE9D51C}"/>
          </ac:spMkLst>
        </pc:spChg>
        <pc:spChg chg="del mod">
          <ac:chgData name="JC Montjoy" userId="0e120a3b0f88cb40" providerId="LiveId" clId="{37B0FAD6-8412-42FC-A49F-40C8E6AADFF7}" dt="2026-01-06T23:18:00.844" v="3870" actId="478"/>
          <ac:spMkLst>
            <pc:docMk/>
            <pc:sldMk cId="2498890062" sldId="289"/>
            <ac:spMk id="5" creationId="{00000000-0000-0000-0000-000000000000}"/>
          </ac:spMkLst>
        </pc:spChg>
        <pc:spChg chg="add del mod">
          <ac:chgData name="JC Montjoy" userId="0e120a3b0f88cb40" providerId="LiveId" clId="{37B0FAD6-8412-42FC-A49F-40C8E6AADFF7}" dt="2026-01-06T23:18:08.714" v="3875" actId="478"/>
          <ac:spMkLst>
            <pc:docMk/>
            <pc:sldMk cId="2498890062" sldId="289"/>
            <ac:spMk id="8" creationId="{E12CC542-2288-080C-0AD6-AB7D3AAB13FC}"/>
          </ac:spMkLst>
        </pc:spChg>
        <pc:spChg chg="add del mod">
          <ac:chgData name="JC Montjoy" userId="0e120a3b0f88cb40" providerId="LiveId" clId="{37B0FAD6-8412-42FC-A49F-40C8E6AADFF7}" dt="2026-01-06T23:18:04.645" v="3874" actId="478"/>
          <ac:spMkLst>
            <pc:docMk/>
            <pc:sldMk cId="2498890062" sldId="289"/>
            <ac:spMk id="9" creationId="{9DF5FEE9-B20A-E563-8B6B-A79CB5D87A8A}"/>
          </ac:spMkLst>
        </pc:spChg>
        <pc:spChg chg="add mod">
          <ac:chgData name="JC Montjoy" userId="0e120a3b0f88cb40" providerId="LiveId" clId="{37B0FAD6-8412-42FC-A49F-40C8E6AADFF7}" dt="2026-01-06T23:18:18.607" v="3921" actId="948"/>
          <ac:spMkLst>
            <pc:docMk/>
            <pc:sldMk cId="2498890062" sldId="289"/>
            <ac:spMk id="10" creationId="{20C80A6E-BB29-1370-4BAB-00D15C55C85A}"/>
          </ac:spMkLst>
        </pc:spChg>
        <pc:spChg chg="add del mod modVis">
          <ac:chgData name="JC Montjoy" userId="0e120a3b0f88cb40" providerId="LiveId" clId="{37B0FAD6-8412-42FC-A49F-40C8E6AADFF7}" dt="2026-01-06T23:18:16.988" v="3911"/>
          <ac:spMkLst>
            <pc:docMk/>
            <pc:sldMk cId="2498890062" sldId="289"/>
            <ac:spMk id="11" creationId="{36E742F7-3831-390C-60F4-326F42DE5D82}"/>
          </ac:spMkLst>
        </pc:spChg>
        <pc:spChg chg="add del mod modVis">
          <ac:chgData name="JC Montjoy" userId="0e120a3b0f88cb40" providerId="LiveId" clId="{37B0FAD6-8412-42FC-A49F-40C8E6AADFF7}" dt="2026-01-06T23:18:18.641" v="3942"/>
          <ac:spMkLst>
            <pc:docMk/>
            <pc:sldMk cId="2498890062" sldId="289"/>
            <ac:spMk id="12" creationId="{2314D612-53F8-6EEA-AF70-24437883D211}"/>
          </ac:spMkLst>
        </pc:spChg>
        <pc:spChg chg="mod">
          <ac:chgData name="JC Montjoy" userId="0e120a3b0f88cb40" providerId="LiveId" clId="{37B0FAD6-8412-42FC-A49F-40C8E6AADFF7}" dt="2026-01-06T23:17:12.121" v="3800" actId="20577"/>
          <ac:spMkLst>
            <pc:docMk/>
            <pc:sldMk cId="2498890062" sldId="289"/>
            <ac:spMk id="31746" creationId="{00000000-0000-0000-0000-000000000000}"/>
          </ac:spMkLst>
        </pc:spChg>
        <pc:graphicFrameChg chg="add mod ord modVis">
          <ac:chgData name="JC Montjoy" userId="0e120a3b0f88cb40" providerId="LiveId" clId="{37B0FAD6-8412-42FC-A49F-40C8E6AADFF7}" dt="2026-01-06T23:18:18.643" v="3944"/>
          <ac:graphicFrameMkLst>
            <pc:docMk/>
            <pc:sldMk cId="2498890062" sldId="289"/>
            <ac:graphicFrameMk id="3" creationId="{3663A086-B340-CD66-2A5E-4F78BEABF45C}"/>
          </ac:graphicFrameMkLst>
        </pc:graphicFrameChg>
        <pc:picChg chg="del">
          <ac:chgData name="JC Montjoy" userId="0e120a3b0f88cb40" providerId="LiveId" clId="{37B0FAD6-8412-42FC-A49F-40C8E6AADFF7}" dt="2026-01-06T23:16:53.914" v="3780" actId="478"/>
          <ac:picMkLst>
            <pc:docMk/>
            <pc:sldMk cId="2498890062" sldId="289"/>
            <ac:picMk id="6" creationId="{00000000-0000-0000-0000-000000000000}"/>
          </ac:picMkLst>
        </pc:picChg>
        <pc:picChg chg="add mod">
          <ac:chgData name="JC Montjoy" userId="0e120a3b0f88cb40" providerId="LiveId" clId="{37B0FAD6-8412-42FC-A49F-40C8E6AADFF7}" dt="2026-01-06T23:38:25.798" v="4170" actId="14100"/>
          <ac:picMkLst>
            <pc:docMk/>
            <pc:sldMk cId="2498890062" sldId="289"/>
            <ac:picMk id="8194" creationId="{BA08CF05-87BB-8E6D-CE63-57BBB56A07D4}"/>
          </ac:picMkLst>
        </pc:picChg>
      </pc:sldChg>
      <pc:sldChg chg="addSp delSp modSp mod modNotesTx">
        <pc:chgData name="JC Montjoy" userId="0e120a3b0f88cb40" providerId="LiveId" clId="{37B0FAD6-8412-42FC-A49F-40C8E6AADFF7}" dt="2026-01-06T22:23:14.307" v="1704" actId="20577"/>
        <pc:sldMkLst>
          <pc:docMk/>
          <pc:sldMk cId="999394214" sldId="290"/>
        </pc:sldMkLst>
        <pc:spChg chg="add del mod modVis">
          <ac:chgData name="JC Montjoy" userId="0e120a3b0f88cb40" providerId="LiveId" clId="{37B0FAD6-8412-42FC-A49F-40C8E6AADFF7}" dt="2026-01-06T15:09:36.516" v="526"/>
          <ac:spMkLst>
            <pc:docMk/>
            <pc:sldMk cId="999394214" sldId="290"/>
            <ac:spMk id="2" creationId="{962C8E57-E47C-B996-AE85-F4465B879F5A}"/>
          </ac:spMkLst>
        </pc:spChg>
        <pc:spChg chg="add del mod modVis">
          <ac:chgData name="JC Montjoy" userId="0e120a3b0f88cb40" providerId="LiveId" clId="{37B0FAD6-8412-42FC-A49F-40C8E6AADFF7}" dt="2026-01-06T15:09:38" v="563"/>
          <ac:spMkLst>
            <pc:docMk/>
            <pc:sldMk cId="999394214" sldId="290"/>
            <ac:spMk id="4" creationId="{8FCD39F1-39E7-2007-7E25-4347B2E2150B}"/>
          </ac:spMkLst>
        </pc:spChg>
        <pc:spChg chg="mod">
          <ac:chgData name="JC Montjoy" userId="0e120a3b0f88cb40" providerId="LiveId" clId="{37B0FAD6-8412-42FC-A49F-40C8E6AADFF7}" dt="2026-01-06T15:09:37.984" v="542" actId="948"/>
          <ac:spMkLst>
            <pc:docMk/>
            <pc:sldMk cId="999394214" sldId="290"/>
            <ac:spMk id="5" creationId="{00000000-0000-0000-0000-000000000000}"/>
          </ac:spMkLst>
        </pc:spChg>
        <pc:spChg chg="mod">
          <ac:chgData name="JC Montjoy" userId="0e120a3b0f88cb40" providerId="LiveId" clId="{37B0FAD6-8412-42FC-A49F-40C8E6AADFF7}" dt="2026-01-06T22:12:23.584" v="1519" actId="20577"/>
          <ac:spMkLst>
            <pc:docMk/>
            <pc:sldMk cId="999394214" sldId="290"/>
            <ac:spMk id="18434" creationId="{00000000-0000-0000-0000-000000000000}"/>
          </ac:spMkLst>
        </pc:spChg>
        <pc:graphicFrameChg chg="add mod ord modVis">
          <ac:chgData name="JC Montjoy" userId="0e120a3b0f88cb40" providerId="LiveId" clId="{37B0FAD6-8412-42FC-A49F-40C8E6AADFF7}" dt="2026-01-06T15:09:38.007" v="565"/>
          <ac:graphicFrameMkLst>
            <pc:docMk/>
            <pc:sldMk cId="999394214" sldId="290"/>
            <ac:graphicFrameMk id="3" creationId="{4694F7E9-D6CA-BD64-50BE-ACAE0FD5CA63}"/>
          </ac:graphicFrameMkLst>
        </pc:graphicFrameChg>
        <pc:picChg chg="mod">
          <ac:chgData name="JC Montjoy" userId="0e120a3b0f88cb40" providerId="LiveId" clId="{37B0FAD6-8412-42FC-A49F-40C8E6AADFF7}" dt="2026-01-06T22:11:19.828" v="1514" actId="1076"/>
          <ac:picMkLst>
            <pc:docMk/>
            <pc:sldMk cId="999394214" sldId="290"/>
            <ac:picMk id="2" creationId="{6EBBC0D8-2E7F-AF0A-531B-B33B3022FC9E}"/>
          </ac:picMkLst>
        </pc:picChg>
      </pc:sldChg>
      <pc:sldChg chg="modSp del mod modNotesTx">
        <pc:chgData name="JC Montjoy" userId="0e120a3b0f88cb40" providerId="LiveId" clId="{37B0FAD6-8412-42FC-A49F-40C8E6AADFF7}" dt="2026-01-06T22:14:38.204" v="1632" actId="47"/>
        <pc:sldMkLst>
          <pc:docMk/>
          <pc:sldMk cId="2959807924" sldId="291"/>
        </pc:sldMkLst>
        <pc:spChg chg="mod">
          <ac:chgData name="JC Montjoy" userId="0e120a3b0f88cb40" providerId="LiveId" clId="{37B0FAD6-8412-42FC-A49F-40C8E6AADFF7}" dt="2026-01-06T15:51:43.533" v="1078" actId="207"/>
          <ac:spMkLst>
            <pc:docMk/>
            <pc:sldMk cId="2959807924" sldId="291"/>
            <ac:spMk id="4" creationId="{00000000-0000-0000-0000-000000000000}"/>
          </ac:spMkLst>
        </pc:spChg>
        <pc:spChg chg="mod">
          <ac:chgData name="JC Montjoy" userId="0e120a3b0f88cb40" providerId="LiveId" clId="{37B0FAD6-8412-42FC-A49F-40C8E6AADFF7}" dt="2026-01-06T15:51:21.953" v="1031" actId="20577"/>
          <ac:spMkLst>
            <pc:docMk/>
            <pc:sldMk cId="2959807924" sldId="291"/>
            <ac:spMk id="31746" creationId="{00000000-0000-0000-0000-000000000000}"/>
          </ac:spMkLst>
        </pc:spChg>
      </pc:sldChg>
      <pc:sldChg chg="del">
        <pc:chgData name="JC Montjoy" userId="0e120a3b0f88cb40" providerId="LiveId" clId="{37B0FAD6-8412-42FC-A49F-40C8E6AADFF7}" dt="2026-01-06T23:02:23.150" v="3684" actId="2696"/>
        <pc:sldMkLst>
          <pc:docMk/>
          <pc:sldMk cId="1335061969" sldId="292"/>
        </pc:sldMkLst>
      </pc:sldChg>
      <pc:sldChg chg="addSp delSp modSp add mod">
        <pc:chgData name="JC Montjoy" userId="0e120a3b0f88cb40" providerId="LiveId" clId="{37B0FAD6-8412-42FC-A49F-40C8E6AADFF7}" dt="2026-01-06T23:05:56.673" v="3766" actId="1076"/>
        <pc:sldMkLst>
          <pc:docMk/>
          <pc:sldMk cId="3696744338" sldId="292"/>
        </pc:sldMkLst>
        <pc:spChg chg="add del mod modVis">
          <ac:chgData name="JC Montjoy" userId="0e120a3b0f88cb40" providerId="LiveId" clId="{37B0FAD6-8412-42FC-A49F-40C8E6AADFF7}" dt="2026-01-06T23:02:31.879" v="3715"/>
          <ac:spMkLst>
            <pc:docMk/>
            <pc:sldMk cId="3696744338" sldId="292"/>
            <ac:spMk id="2" creationId="{9D373B0B-4714-2224-984A-C277E23B9554}"/>
          </ac:spMkLst>
        </pc:spChg>
        <pc:spChg chg="add del mod modVis">
          <ac:chgData name="JC Montjoy" userId="0e120a3b0f88cb40" providerId="LiveId" clId="{37B0FAD6-8412-42FC-A49F-40C8E6AADFF7}" dt="2026-01-06T23:02:33.215" v="3756"/>
          <ac:spMkLst>
            <pc:docMk/>
            <pc:sldMk cId="3696744338" sldId="292"/>
            <ac:spMk id="4" creationId="{27CCF584-844F-145A-CF95-1CC37FF49120}"/>
          </ac:spMkLst>
        </pc:spChg>
        <pc:spChg chg="mod">
          <ac:chgData name="JC Montjoy" userId="0e120a3b0f88cb40" providerId="LiveId" clId="{37B0FAD6-8412-42FC-A49F-40C8E6AADFF7}" dt="2026-01-06T23:02:33.193" v="3735" actId="948"/>
          <ac:spMkLst>
            <pc:docMk/>
            <pc:sldMk cId="3696744338" sldId="292"/>
            <ac:spMk id="5" creationId="{00000000-0000-0000-0000-000000000000}"/>
          </ac:spMkLst>
        </pc:spChg>
        <pc:graphicFrameChg chg="add mod ord modVis">
          <ac:chgData name="JC Montjoy" userId="0e120a3b0f88cb40" providerId="LiveId" clId="{37B0FAD6-8412-42FC-A49F-40C8E6AADFF7}" dt="2026-01-06T23:02:33.217" v="3758"/>
          <ac:graphicFrameMkLst>
            <pc:docMk/>
            <pc:sldMk cId="3696744338" sldId="292"/>
            <ac:graphicFrameMk id="3" creationId="{3C484EF5-6BF4-CDF7-1238-37284DDC3303}"/>
          </ac:graphicFrameMkLst>
        </pc:graphicFrameChg>
        <pc:picChg chg="add mod">
          <ac:chgData name="JC Montjoy" userId="0e120a3b0f88cb40" providerId="LiveId" clId="{37B0FAD6-8412-42FC-A49F-40C8E6AADFF7}" dt="2026-01-06T23:05:56.673" v="3766" actId="1076"/>
          <ac:picMkLst>
            <pc:docMk/>
            <pc:sldMk cId="3696744338" sldId="292"/>
            <ac:picMk id="1028" creationId="{F1FAE77E-8495-F992-2A7D-7F7DF3119C53}"/>
          </ac:picMkLst>
        </pc:picChg>
      </pc:sldChg>
      <pc:sldChg chg="addSp delSp modSp mod ord">
        <pc:chgData name="JC Montjoy" userId="0e120a3b0f88cb40" providerId="LiveId" clId="{37B0FAD6-8412-42FC-A49F-40C8E6AADFF7}" dt="2026-01-06T23:00:16.079" v="3597"/>
        <pc:sldMkLst>
          <pc:docMk/>
          <pc:sldMk cId="2702601445" sldId="297"/>
        </pc:sldMkLst>
        <pc:spChg chg="mod">
          <ac:chgData name="JC Montjoy" userId="0e120a3b0f88cb40" providerId="LiveId" clId="{37B0FAD6-8412-42FC-A49F-40C8E6AADFF7}" dt="2026-01-06T15:07:01.839" v="400" actId="948"/>
          <ac:spMkLst>
            <pc:docMk/>
            <pc:sldMk cId="2702601445" sldId="297"/>
            <ac:spMk id="3" creationId="{00000000-0000-0000-0000-000000000000}"/>
          </ac:spMkLst>
        </pc:spChg>
        <pc:spChg chg="mod">
          <ac:chgData name="JC Montjoy" userId="0e120a3b0f88cb40" providerId="LiveId" clId="{37B0FAD6-8412-42FC-A49F-40C8E6AADFF7}" dt="2026-01-06T15:08:45.292" v="503" actId="6549"/>
          <ac:spMkLst>
            <pc:docMk/>
            <pc:sldMk cId="2702601445" sldId="297"/>
            <ac:spMk id="4" creationId="{00000000-0000-0000-0000-000000000000}"/>
          </ac:spMkLst>
        </pc:spChg>
        <pc:spChg chg="add del mod modVis">
          <ac:chgData name="JC Montjoy" userId="0e120a3b0f88cb40" providerId="LiveId" clId="{37B0FAD6-8412-42FC-A49F-40C8E6AADFF7}" dt="2026-01-06T15:06:59.960" v="380"/>
          <ac:spMkLst>
            <pc:docMk/>
            <pc:sldMk cId="2702601445" sldId="297"/>
            <ac:spMk id="5" creationId="{E0C42E31-D495-9C10-A591-7AAF34145F43}"/>
          </ac:spMkLst>
        </pc:spChg>
        <pc:spChg chg="add del mod modVis">
          <ac:chgData name="JC Montjoy" userId="0e120a3b0f88cb40" providerId="LiveId" clId="{37B0FAD6-8412-42FC-A49F-40C8E6AADFF7}" dt="2026-01-06T15:07:01.875" v="421"/>
          <ac:spMkLst>
            <pc:docMk/>
            <pc:sldMk cId="2702601445" sldId="297"/>
            <ac:spMk id="7" creationId="{475513BC-A9F6-F7DB-5BBB-CA823D4EC21B}"/>
          </ac:spMkLst>
        </pc:spChg>
        <pc:graphicFrameChg chg="add mod ord modVis">
          <ac:chgData name="JC Montjoy" userId="0e120a3b0f88cb40" providerId="LiveId" clId="{37B0FAD6-8412-42FC-A49F-40C8E6AADFF7}" dt="2026-01-06T15:07:01.877" v="423"/>
          <ac:graphicFrameMkLst>
            <pc:docMk/>
            <pc:sldMk cId="2702601445" sldId="297"/>
            <ac:graphicFrameMk id="6" creationId="{E572733F-EDFC-8235-296C-2D0E11124D7A}"/>
          </ac:graphicFrameMkLst>
        </pc:graphicFrameChg>
      </pc:sldChg>
      <pc:sldChg chg="addSp delSp modSp del mod modNotes">
        <pc:chgData name="JC Montjoy" userId="0e120a3b0f88cb40" providerId="LiveId" clId="{37B0FAD6-8412-42FC-A49F-40C8E6AADFF7}" dt="2026-01-06T23:01:40.084" v="3682" actId="2696"/>
        <pc:sldMkLst>
          <pc:docMk/>
          <pc:sldMk cId="1199598158" sldId="301"/>
        </pc:sldMkLst>
        <pc:spChg chg="add del mod modVis">
          <ac:chgData name="JC Montjoy" userId="0e120a3b0f88cb40" providerId="LiveId" clId="{37B0FAD6-8412-42FC-A49F-40C8E6AADFF7}" dt="2026-01-06T15:05:09.968" v="231"/>
          <ac:spMkLst>
            <pc:docMk/>
            <pc:sldMk cId="1199598158" sldId="301"/>
            <ac:spMk id="2" creationId="{E746FBF0-A656-817C-AB6C-607BCE53662A}"/>
          </ac:spMkLst>
        </pc:spChg>
        <pc:spChg chg="add del mod modVis">
          <ac:chgData name="JC Montjoy" userId="0e120a3b0f88cb40" providerId="LiveId" clId="{37B0FAD6-8412-42FC-A49F-40C8E6AADFF7}" dt="2026-01-06T15:05:11.575" v="268"/>
          <ac:spMkLst>
            <pc:docMk/>
            <pc:sldMk cId="1199598158" sldId="301"/>
            <ac:spMk id="4" creationId="{32F1C063-1243-0610-3E00-9A366B5FCD41}"/>
          </ac:spMkLst>
        </pc:spChg>
        <pc:spChg chg="mod">
          <ac:chgData name="JC Montjoy" userId="0e120a3b0f88cb40" providerId="LiveId" clId="{37B0FAD6-8412-42FC-A49F-40C8E6AADFF7}" dt="2026-01-06T15:05:11.558" v="247" actId="948"/>
          <ac:spMkLst>
            <pc:docMk/>
            <pc:sldMk cId="1199598158" sldId="301"/>
            <ac:spMk id="5" creationId="{00000000-0000-0000-0000-000000000000}"/>
          </ac:spMkLst>
        </pc:spChg>
        <pc:spChg chg="mod">
          <ac:chgData name="JC Montjoy" userId="0e120a3b0f88cb40" providerId="LiveId" clId="{37B0FAD6-8412-42FC-A49F-40C8E6AADFF7}" dt="2026-01-06T15:05:23.912" v="308" actId="6549"/>
          <ac:spMkLst>
            <pc:docMk/>
            <pc:sldMk cId="1199598158" sldId="301"/>
            <ac:spMk id="14338" creationId="{00000000-0000-0000-0000-000000000000}"/>
          </ac:spMkLst>
        </pc:spChg>
        <pc:graphicFrameChg chg="add mod ord modVis">
          <ac:chgData name="JC Montjoy" userId="0e120a3b0f88cb40" providerId="LiveId" clId="{37B0FAD6-8412-42FC-A49F-40C8E6AADFF7}" dt="2026-01-06T15:05:11.575" v="270"/>
          <ac:graphicFrameMkLst>
            <pc:docMk/>
            <pc:sldMk cId="1199598158" sldId="301"/>
            <ac:graphicFrameMk id="3" creationId="{A72AB477-365C-0425-A31E-A869900FA8E0}"/>
          </ac:graphicFrameMkLst>
        </pc:graphicFrameChg>
        <pc:picChg chg="add mod">
          <ac:chgData name="JC Montjoy" userId="0e120a3b0f88cb40" providerId="LiveId" clId="{37B0FAD6-8412-42FC-A49F-40C8E6AADFF7}" dt="2026-01-06T22:07:52.583" v="1509" actId="1076"/>
          <ac:picMkLst>
            <pc:docMk/>
            <pc:sldMk cId="1199598158" sldId="301"/>
            <ac:picMk id="1038" creationId="{B5B9DD78-0B16-E582-268C-D2B624E78C9C}"/>
          </ac:picMkLst>
        </pc:picChg>
      </pc:sldChg>
      <pc:sldChg chg="add">
        <pc:chgData name="JC Montjoy" userId="0e120a3b0f88cb40" providerId="LiveId" clId="{37B0FAD6-8412-42FC-A49F-40C8E6AADFF7}" dt="2026-01-06T23:01:48.727" v="3683"/>
        <pc:sldMkLst>
          <pc:docMk/>
          <pc:sldMk cId="2547914925" sldId="301"/>
        </pc:sldMkLst>
      </pc:sldChg>
      <pc:sldChg chg="delSp del">
        <pc:chgData name="JC Montjoy" userId="0e120a3b0f88cb40" providerId="LiveId" clId="{37B0FAD6-8412-42FC-A49F-40C8E6AADFF7}" dt="2026-01-06T23:14:49.764" v="3777" actId="2696"/>
        <pc:sldMkLst>
          <pc:docMk/>
          <pc:sldMk cId="338229699" sldId="303"/>
        </pc:sldMkLst>
        <pc:spChg chg="del">
          <ac:chgData name="JC Montjoy" userId="0e120a3b0f88cb40" providerId="LiveId" clId="{37B0FAD6-8412-42FC-A49F-40C8E6AADFF7}" dt="2026-01-06T23:11:57.444" v="3767" actId="478"/>
          <ac:spMkLst>
            <pc:docMk/>
            <pc:sldMk cId="338229699" sldId="303"/>
            <ac:spMk id="15362" creationId="{00000000-0000-0000-0000-000000000000}"/>
          </ac:spMkLst>
        </pc:spChg>
      </pc:sldChg>
      <pc:sldChg chg="addSp modSp add mod">
        <pc:chgData name="JC Montjoy" userId="0e120a3b0f88cb40" providerId="LiveId" clId="{37B0FAD6-8412-42FC-A49F-40C8E6AADFF7}" dt="2026-01-07T01:10:16.582" v="5454" actId="20577"/>
        <pc:sldMkLst>
          <pc:docMk/>
          <pc:sldMk cId="3738930622" sldId="303"/>
        </pc:sldMkLst>
        <pc:spChg chg="add mod">
          <ac:chgData name="JC Montjoy" userId="0e120a3b0f88cb40" providerId="LiveId" clId="{37B0FAD6-8412-42FC-A49F-40C8E6AADFF7}" dt="2026-01-07T01:10:16.582" v="5454" actId="20577"/>
          <ac:spMkLst>
            <pc:docMk/>
            <pc:sldMk cId="3738930622" sldId="303"/>
            <ac:spMk id="5" creationId="{B28944D9-1C34-6DE5-4900-89229D4CAABF}"/>
          </ac:spMkLst>
        </pc:spChg>
      </pc:sldChg>
      <pc:sldChg chg="del">
        <pc:chgData name="JC Montjoy" userId="0e120a3b0f88cb40" providerId="LiveId" clId="{37B0FAD6-8412-42FC-A49F-40C8E6AADFF7}" dt="2026-01-06T22:54:25.773" v="3393" actId="47"/>
        <pc:sldMkLst>
          <pc:docMk/>
          <pc:sldMk cId="472554206" sldId="304"/>
        </pc:sldMkLst>
      </pc:sldChg>
      <pc:sldChg chg="del">
        <pc:chgData name="JC Montjoy" userId="0e120a3b0f88cb40" providerId="LiveId" clId="{37B0FAD6-8412-42FC-A49F-40C8E6AADFF7}" dt="2026-01-06T22:52:07.355" v="3384" actId="47"/>
        <pc:sldMkLst>
          <pc:docMk/>
          <pc:sldMk cId="2406257758" sldId="305"/>
        </pc:sldMkLst>
      </pc:sldChg>
      <pc:sldChg chg="del">
        <pc:chgData name="JC Montjoy" userId="0e120a3b0f88cb40" providerId="LiveId" clId="{37B0FAD6-8412-42FC-A49F-40C8E6AADFF7}" dt="2026-01-06T15:49:28.951" v="829" actId="47"/>
        <pc:sldMkLst>
          <pc:docMk/>
          <pc:sldMk cId="540260855" sldId="306"/>
        </pc:sldMkLst>
      </pc:sldChg>
      <pc:sldChg chg="addSp delSp modSp mod">
        <pc:chgData name="JC Montjoy" userId="0e120a3b0f88cb40" providerId="LiveId" clId="{37B0FAD6-8412-42FC-A49F-40C8E6AADFF7}" dt="2026-01-07T01:04:53.065" v="5404" actId="1076"/>
        <pc:sldMkLst>
          <pc:docMk/>
          <pc:sldMk cId="1484190390" sldId="311"/>
        </pc:sldMkLst>
        <pc:spChg chg="mod">
          <ac:chgData name="JC Montjoy" userId="0e120a3b0f88cb40" providerId="LiveId" clId="{37B0FAD6-8412-42FC-A49F-40C8E6AADFF7}" dt="2026-01-06T22:05:15.417" v="1482" actId="948"/>
          <ac:spMkLst>
            <pc:docMk/>
            <pc:sldMk cId="1484190390" sldId="311"/>
            <ac:spMk id="3" creationId="{00000000-0000-0000-0000-000000000000}"/>
          </ac:spMkLst>
        </pc:spChg>
        <pc:spChg chg="add del mod modVis">
          <ac:chgData name="JC Montjoy" userId="0e120a3b0f88cb40" providerId="LiveId" clId="{37B0FAD6-8412-42FC-A49F-40C8E6AADFF7}" dt="2026-01-06T22:05:12.036" v="1446"/>
          <ac:spMkLst>
            <pc:docMk/>
            <pc:sldMk cId="1484190390" sldId="311"/>
            <ac:spMk id="4" creationId="{EC912ADC-3F1D-953D-1967-1B5082B18E4B}"/>
          </ac:spMkLst>
        </pc:spChg>
        <pc:spChg chg="add del mod modVis">
          <ac:chgData name="JC Montjoy" userId="0e120a3b0f88cb40" providerId="LiveId" clId="{37B0FAD6-8412-42FC-A49F-40C8E6AADFF7}" dt="2026-01-06T22:05:14.405" v="1478"/>
          <ac:spMkLst>
            <pc:docMk/>
            <pc:sldMk cId="1484190390" sldId="311"/>
            <ac:spMk id="34" creationId="{C107F232-6123-C169-0A82-33D24EC749E0}"/>
          </ac:spMkLst>
        </pc:spChg>
        <pc:spChg chg="add del mod modVis">
          <ac:chgData name="JC Montjoy" userId="0e120a3b0f88cb40" providerId="LiveId" clId="{37B0FAD6-8412-42FC-A49F-40C8E6AADFF7}" dt="2026-01-06T22:05:15.452" v="1503"/>
          <ac:spMkLst>
            <pc:docMk/>
            <pc:sldMk cId="1484190390" sldId="311"/>
            <ac:spMk id="35" creationId="{6FB6575F-1BCD-C892-DD16-5463DD20111B}"/>
          </ac:spMkLst>
        </pc:spChg>
        <pc:graphicFrameChg chg="add mod ord modVis">
          <ac:chgData name="JC Montjoy" userId="0e120a3b0f88cb40" providerId="LiveId" clId="{37B0FAD6-8412-42FC-A49F-40C8E6AADFF7}" dt="2026-01-06T22:05:15.454" v="1505"/>
          <ac:graphicFrameMkLst>
            <pc:docMk/>
            <pc:sldMk cId="1484190390" sldId="311"/>
            <ac:graphicFrameMk id="2" creationId="{8070E3B4-C154-01A6-7269-885BEC8221BC}"/>
          </ac:graphicFrameMkLst>
        </pc:graphicFrameChg>
        <pc:picChg chg="add mod">
          <ac:chgData name="JC Montjoy" userId="0e120a3b0f88cb40" providerId="LiveId" clId="{37B0FAD6-8412-42FC-A49F-40C8E6AADFF7}" dt="2026-01-07T01:04:53.065" v="5404" actId="1076"/>
          <ac:picMkLst>
            <pc:docMk/>
            <pc:sldMk cId="1484190390" sldId="311"/>
            <ac:picMk id="36" creationId="{1ED00F61-5F5C-C1BE-F26B-BBB3133C589A}"/>
          </ac:picMkLst>
        </pc:picChg>
      </pc:sldChg>
      <pc:sldChg chg="addSp delSp modSp del mod">
        <pc:chgData name="JC Montjoy" userId="0e120a3b0f88cb40" providerId="LiveId" clId="{37B0FAD6-8412-42FC-A49F-40C8E6AADFF7}" dt="2026-01-06T22:55:49.501" v="3461" actId="47"/>
        <pc:sldMkLst>
          <pc:docMk/>
          <pc:sldMk cId="571478018" sldId="312"/>
        </pc:sldMkLst>
        <pc:picChg chg="add del mod">
          <ac:chgData name="JC Montjoy" userId="0e120a3b0f88cb40" providerId="LiveId" clId="{37B0FAD6-8412-42FC-A49F-40C8E6AADFF7}" dt="2026-01-06T21:56:11.978" v="1356" actId="21"/>
          <ac:picMkLst>
            <pc:docMk/>
            <pc:sldMk cId="571478018" sldId="312"/>
            <ac:picMk id="1026" creationId="{1ED00F61-5F5C-C1BE-F26B-BBB3133C589A}"/>
          </ac:picMkLst>
        </pc:picChg>
      </pc:sldChg>
      <pc:sldChg chg="del">
        <pc:chgData name="JC Montjoy" userId="0e120a3b0f88cb40" providerId="LiveId" clId="{37B0FAD6-8412-42FC-A49F-40C8E6AADFF7}" dt="2026-01-06T15:52:04.828" v="1079" actId="47"/>
        <pc:sldMkLst>
          <pc:docMk/>
          <pc:sldMk cId="543524993" sldId="315"/>
        </pc:sldMkLst>
      </pc:sldChg>
      <pc:sldChg chg="del">
        <pc:chgData name="JC Montjoy" userId="0e120a3b0f88cb40" providerId="LiveId" clId="{37B0FAD6-8412-42FC-A49F-40C8E6AADFF7}" dt="2026-01-06T23:39:15.046" v="4172" actId="47"/>
        <pc:sldMkLst>
          <pc:docMk/>
          <pc:sldMk cId="1313581469" sldId="316"/>
        </pc:sldMkLst>
      </pc:sldChg>
      <pc:sldChg chg="del">
        <pc:chgData name="JC Montjoy" userId="0e120a3b0f88cb40" providerId="LiveId" clId="{37B0FAD6-8412-42FC-A49F-40C8E6AADFF7}" dt="2026-01-06T23:39:21.666" v="4173" actId="47"/>
        <pc:sldMkLst>
          <pc:docMk/>
          <pc:sldMk cId="3755996583" sldId="317"/>
        </pc:sldMkLst>
      </pc:sldChg>
      <pc:sldChg chg="del">
        <pc:chgData name="JC Montjoy" userId="0e120a3b0f88cb40" providerId="LiveId" clId="{37B0FAD6-8412-42FC-A49F-40C8E6AADFF7}" dt="2026-01-06T23:38:57.746" v="4171" actId="47"/>
        <pc:sldMkLst>
          <pc:docMk/>
          <pc:sldMk cId="3211036011" sldId="320"/>
        </pc:sldMkLst>
      </pc:sldChg>
      <pc:sldChg chg="del">
        <pc:chgData name="JC Montjoy" userId="0e120a3b0f88cb40" providerId="LiveId" clId="{37B0FAD6-8412-42FC-A49F-40C8E6AADFF7}" dt="2026-01-06T15:03:48.309" v="144" actId="47"/>
        <pc:sldMkLst>
          <pc:docMk/>
          <pc:sldMk cId="22083181" sldId="323"/>
        </pc:sldMkLst>
      </pc:sldChg>
      <pc:sldChg chg="del">
        <pc:chgData name="JC Montjoy" userId="0e120a3b0f88cb40" providerId="LiveId" clId="{37B0FAD6-8412-42FC-A49F-40C8E6AADFF7}" dt="2026-01-06T22:54:27.928" v="3394" actId="47"/>
        <pc:sldMkLst>
          <pc:docMk/>
          <pc:sldMk cId="1484943450" sldId="324"/>
        </pc:sldMkLst>
      </pc:sldChg>
      <pc:sldChg chg="del">
        <pc:chgData name="JC Montjoy" userId="0e120a3b0f88cb40" providerId="LiveId" clId="{37B0FAD6-8412-42FC-A49F-40C8E6AADFF7}" dt="2026-01-06T23:39:33.283" v="4174" actId="47"/>
        <pc:sldMkLst>
          <pc:docMk/>
          <pc:sldMk cId="2131893669" sldId="326"/>
        </pc:sldMkLst>
      </pc:sldChg>
      <pc:sldChg chg="del">
        <pc:chgData name="JC Montjoy" userId="0e120a3b0f88cb40" providerId="LiveId" clId="{37B0FAD6-8412-42FC-A49F-40C8E6AADFF7}" dt="2026-01-06T23:03:00.750" v="3759" actId="2696"/>
        <pc:sldMkLst>
          <pc:docMk/>
          <pc:sldMk cId="2802686189" sldId="327"/>
        </pc:sldMkLst>
      </pc:sldChg>
      <pc:sldChg chg="add del">
        <pc:chgData name="JC Montjoy" userId="0e120a3b0f88cb40" providerId="LiveId" clId="{37B0FAD6-8412-42FC-A49F-40C8E6AADFF7}" dt="2026-01-07T01:03:06.179" v="5399" actId="47"/>
        <pc:sldMkLst>
          <pc:docMk/>
          <pc:sldMk cId="4136259746" sldId="327"/>
        </pc:sldMkLst>
      </pc:sldChg>
      <pc:sldChg chg="add del">
        <pc:chgData name="JC Montjoy" userId="0e120a3b0f88cb40" providerId="LiveId" clId="{37B0FAD6-8412-42FC-A49F-40C8E6AADFF7}" dt="2026-01-07T01:03:07.355" v="5400" actId="47"/>
        <pc:sldMkLst>
          <pc:docMk/>
          <pc:sldMk cId="3015250275" sldId="328"/>
        </pc:sldMkLst>
      </pc:sldChg>
      <pc:sldChg chg="del">
        <pc:chgData name="JC Montjoy" userId="0e120a3b0f88cb40" providerId="LiveId" clId="{37B0FAD6-8412-42FC-A49F-40C8E6AADFF7}" dt="2026-01-06T23:03:00.750" v="3759" actId="2696"/>
        <pc:sldMkLst>
          <pc:docMk/>
          <pc:sldMk cId="3615645384" sldId="328"/>
        </pc:sldMkLst>
      </pc:sldChg>
      <pc:sldChg chg="addSp delSp modSp add del">
        <pc:chgData name="JC Montjoy" userId="0e120a3b0f88cb40" providerId="LiveId" clId="{37B0FAD6-8412-42FC-A49F-40C8E6AADFF7}" dt="2026-01-07T01:08:10.398" v="5417" actId="47"/>
        <pc:sldMkLst>
          <pc:docMk/>
          <pc:sldMk cId="1596716050" sldId="330"/>
        </pc:sldMkLst>
        <pc:picChg chg="del">
          <ac:chgData name="JC Montjoy" userId="0e120a3b0f88cb40" providerId="LiveId" clId="{37B0FAD6-8412-42FC-A49F-40C8E6AADFF7}" dt="2026-01-07T01:04:37.833" v="5402" actId="21"/>
          <ac:picMkLst>
            <pc:docMk/>
            <pc:sldMk cId="1596716050" sldId="330"/>
            <ac:picMk id="2" creationId="{1ED00F61-5F5C-C1BE-F26B-BBB3133C589A}"/>
          </ac:picMkLst>
        </pc:picChg>
        <pc:picChg chg="del">
          <ac:chgData name="JC Montjoy" userId="0e120a3b0f88cb40" providerId="LiveId" clId="{37B0FAD6-8412-42FC-A49F-40C8E6AADFF7}" dt="2026-01-06T23:05:31.715" v="3761" actId="21"/>
          <ac:picMkLst>
            <pc:docMk/>
            <pc:sldMk cId="1596716050" sldId="330"/>
            <ac:picMk id="1028" creationId="{F1FAE77E-8495-F992-2A7D-7F7DF3119C53}"/>
          </ac:picMkLst>
        </pc:picChg>
        <pc:picChg chg="del">
          <ac:chgData name="JC Montjoy" userId="0e120a3b0f88cb40" providerId="LiveId" clId="{37B0FAD6-8412-42FC-A49F-40C8E6AADFF7}" dt="2026-01-07T01:05:18.283" v="5405" actId="21"/>
          <ac:picMkLst>
            <pc:docMk/>
            <pc:sldMk cId="1596716050" sldId="330"/>
            <ac:picMk id="1030" creationId="{DC8D4734-C8C5-BE96-CF03-D9290AA3B7FC}"/>
          </ac:picMkLst>
        </pc:picChg>
        <pc:picChg chg="del">
          <ac:chgData name="JC Montjoy" userId="0e120a3b0f88cb40" providerId="LiveId" clId="{37B0FAD6-8412-42FC-A49F-40C8E6AADFF7}" dt="2026-01-07T01:06:44.634" v="5409" actId="21"/>
          <ac:picMkLst>
            <pc:docMk/>
            <pc:sldMk cId="1596716050" sldId="330"/>
            <ac:picMk id="1032" creationId="{70FC5EB9-E5EA-C3C6-ECC9-91AF06DF7458}"/>
          </ac:picMkLst>
        </pc:picChg>
        <pc:picChg chg="del mod">
          <ac:chgData name="JC Montjoy" userId="0e120a3b0f88cb40" providerId="LiveId" clId="{37B0FAD6-8412-42FC-A49F-40C8E6AADFF7}" dt="2026-01-07T00:59:25.122" v="5294" actId="21"/>
          <ac:picMkLst>
            <pc:docMk/>
            <pc:sldMk cId="1596716050" sldId="330"/>
            <ac:picMk id="1034" creationId="{7FA26614-D903-F211-17B8-0305C66172FD}"/>
          </ac:picMkLst>
        </pc:picChg>
        <pc:picChg chg="del">
          <ac:chgData name="JC Montjoy" userId="0e120a3b0f88cb40" providerId="LiveId" clId="{37B0FAD6-8412-42FC-A49F-40C8E6AADFF7}" dt="2026-01-07T01:01:19.900" v="5393" actId="21"/>
          <ac:picMkLst>
            <pc:docMk/>
            <pc:sldMk cId="1596716050" sldId="330"/>
            <ac:picMk id="1036" creationId="{11425FD6-4194-473E-4DE6-6AE1EEA602B7}"/>
          </ac:picMkLst>
        </pc:picChg>
        <pc:picChg chg="del">
          <ac:chgData name="JC Montjoy" userId="0e120a3b0f88cb40" providerId="LiveId" clId="{37B0FAD6-8412-42FC-A49F-40C8E6AADFF7}" dt="2026-01-06T22:07:14.852" v="1506" actId="21"/>
          <ac:picMkLst>
            <pc:docMk/>
            <pc:sldMk cId="1596716050" sldId="330"/>
            <ac:picMk id="1038" creationId="{B5B9DD78-0B16-E582-268C-D2B624E78C9C}"/>
          </ac:picMkLst>
        </pc:picChg>
        <pc:picChg chg="add del mod">
          <ac:chgData name="JC Montjoy" userId="0e120a3b0f88cb40" providerId="LiveId" clId="{37B0FAD6-8412-42FC-A49F-40C8E6AADFF7}" dt="2026-01-07T01:07:46.070" v="5412" actId="21"/>
          <ac:picMkLst>
            <pc:docMk/>
            <pc:sldMk cId="1596716050" sldId="330"/>
            <ac:picMk id="6146" creationId="{65336A76-9E64-EA31-5B60-02931B1B7D0A}"/>
          </ac:picMkLst>
        </pc:picChg>
      </pc:sldChg>
      <pc:sldChg chg="addSp delSp modSp del">
        <pc:chgData name="JC Montjoy" userId="0e120a3b0f88cb40" providerId="LiveId" clId="{37B0FAD6-8412-42FC-A49F-40C8E6AADFF7}" dt="2026-01-06T22:03:38.765" v="1385" actId="2696"/>
        <pc:sldMkLst>
          <pc:docMk/>
          <pc:sldMk cId="4100919407" sldId="330"/>
        </pc:sldMkLst>
        <pc:picChg chg="add mod">
          <ac:chgData name="JC Montjoy" userId="0e120a3b0f88cb40" providerId="LiveId" clId="{37B0FAD6-8412-42FC-A49F-40C8E6AADFF7}" dt="2026-01-06T21:56:23.722" v="1358" actId="1076"/>
          <ac:picMkLst>
            <pc:docMk/>
            <pc:sldMk cId="4100919407" sldId="330"/>
            <ac:picMk id="2" creationId="{1ED00F61-5F5C-C1BE-F26B-BBB3133C589A}"/>
          </ac:picMkLst>
        </pc:picChg>
        <pc:picChg chg="add del mod">
          <ac:chgData name="JC Montjoy" userId="0e120a3b0f88cb40" providerId="LiveId" clId="{37B0FAD6-8412-42FC-A49F-40C8E6AADFF7}" dt="2026-01-06T21:52:54.637" v="1352" actId="21"/>
          <ac:picMkLst>
            <pc:docMk/>
            <pc:sldMk cId="4100919407" sldId="330"/>
            <ac:picMk id="1026" creationId="{1ED00F61-5F5C-C1BE-F26B-BBB3133C589A}"/>
          </ac:picMkLst>
        </pc:picChg>
        <pc:picChg chg="add mod">
          <ac:chgData name="JC Montjoy" userId="0e120a3b0f88cb40" providerId="LiveId" clId="{37B0FAD6-8412-42FC-A49F-40C8E6AADFF7}" dt="2026-01-06T21:58:38.994" v="1371" actId="1076"/>
          <ac:picMkLst>
            <pc:docMk/>
            <pc:sldMk cId="4100919407" sldId="330"/>
            <ac:picMk id="1028" creationId="{F1FAE77E-8495-F992-2A7D-7F7DF3119C53}"/>
          </ac:picMkLst>
        </pc:picChg>
        <pc:picChg chg="add mod">
          <ac:chgData name="JC Montjoy" userId="0e120a3b0f88cb40" providerId="LiveId" clId="{37B0FAD6-8412-42FC-A49F-40C8E6AADFF7}" dt="2026-01-06T21:58:45.657" v="1373" actId="1076"/>
          <ac:picMkLst>
            <pc:docMk/>
            <pc:sldMk cId="4100919407" sldId="330"/>
            <ac:picMk id="1030" creationId="{DC8D4734-C8C5-BE96-CF03-D9290AA3B7FC}"/>
          </ac:picMkLst>
        </pc:picChg>
        <pc:picChg chg="add mod">
          <ac:chgData name="JC Montjoy" userId="0e120a3b0f88cb40" providerId="LiveId" clId="{37B0FAD6-8412-42FC-A49F-40C8E6AADFF7}" dt="2026-01-06T21:59:15.554" v="1376"/>
          <ac:picMkLst>
            <pc:docMk/>
            <pc:sldMk cId="4100919407" sldId="330"/>
            <ac:picMk id="1032" creationId="{70FC5EB9-E5EA-C3C6-ECC9-91AF06DF7458}"/>
          </ac:picMkLst>
        </pc:picChg>
        <pc:picChg chg="add mod">
          <ac:chgData name="JC Montjoy" userId="0e120a3b0f88cb40" providerId="LiveId" clId="{37B0FAD6-8412-42FC-A49F-40C8E6AADFF7}" dt="2026-01-06T22:01:13.168" v="1378"/>
          <ac:picMkLst>
            <pc:docMk/>
            <pc:sldMk cId="4100919407" sldId="330"/>
            <ac:picMk id="1034" creationId="{7FA26614-D903-F211-17B8-0305C66172FD}"/>
          </ac:picMkLst>
        </pc:picChg>
        <pc:picChg chg="add mod">
          <ac:chgData name="JC Montjoy" userId="0e120a3b0f88cb40" providerId="LiveId" clId="{37B0FAD6-8412-42FC-A49F-40C8E6AADFF7}" dt="2026-01-06T22:01:20.878" v="1380" actId="1076"/>
          <ac:picMkLst>
            <pc:docMk/>
            <pc:sldMk cId="4100919407" sldId="330"/>
            <ac:picMk id="1036" creationId="{11425FD6-4194-473E-4DE6-6AE1EEA602B7}"/>
          </ac:picMkLst>
        </pc:picChg>
        <pc:picChg chg="add mod">
          <ac:chgData name="JC Montjoy" userId="0e120a3b0f88cb40" providerId="LiveId" clId="{37B0FAD6-8412-42FC-A49F-40C8E6AADFF7}" dt="2026-01-06T22:02:14.055" v="1384" actId="1076"/>
          <ac:picMkLst>
            <pc:docMk/>
            <pc:sldMk cId="4100919407" sldId="330"/>
            <ac:picMk id="1038" creationId="{B5B9DD78-0B16-E582-268C-D2B624E78C9C}"/>
          </ac:picMkLst>
        </pc:picChg>
      </pc:sldChg>
      <pc:sldChg chg="modSp mod">
        <pc:chgData name="JC Montjoy" userId="0e120a3b0f88cb40" providerId="LiveId" clId="{37B0FAD6-8412-42FC-A49F-40C8E6AADFF7}" dt="2026-01-06T22:04:02.686" v="1391" actId="1036"/>
        <pc:sldMkLst>
          <pc:docMk/>
          <pc:sldMk cId="1559102089" sldId="331"/>
        </pc:sldMkLst>
        <pc:spChg chg="mod">
          <ac:chgData name="JC Montjoy" userId="0e120a3b0f88cb40" providerId="LiveId" clId="{37B0FAD6-8412-42FC-A49F-40C8E6AADFF7}" dt="2026-01-06T22:04:02.686" v="1391" actId="1036"/>
          <ac:spMkLst>
            <pc:docMk/>
            <pc:sldMk cId="1559102089" sldId="331"/>
            <ac:spMk id="7169" creationId="{3F4614EE-D337-FE26-0DFC-F8C03980D194}"/>
          </ac:spMkLst>
        </pc:spChg>
      </pc:sldChg>
      <pc:sldChg chg="delSp del mod ord">
        <pc:chgData name="JC Montjoy" userId="0e120a3b0f88cb40" providerId="LiveId" clId="{37B0FAD6-8412-42FC-A49F-40C8E6AADFF7}" dt="2026-01-06T23:21:15.637" v="4025" actId="47"/>
        <pc:sldMkLst>
          <pc:docMk/>
          <pc:sldMk cId="3127811341" sldId="332"/>
        </pc:sldMkLst>
        <pc:picChg chg="del">
          <ac:chgData name="JC Montjoy" userId="0e120a3b0f88cb40" providerId="LiveId" clId="{37B0FAD6-8412-42FC-A49F-40C8E6AADFF7}" dt="2026-01-06T23:19:52.723" v="4018" actId="21"/>
          <ac:picMkLst>
            <pc:docMk/>
            <pc:sldMk cId="3127811341" sldId="332"/>
            <ac:picMk id="8" creationId="{4F4FB347-A0F9-2D1D-9AAD-1500FBEC6277}"/>
          </ac:picMkLst>
        </pc:picChg>
      </pc:sldChg>
      <pc:sldChg chg="addSp modSp add mod">
        <pc:chgData name="JC Montjoy" userId="0e120a3b0f88cb40" providerId="LiveId" clId="{37B0FAD6-8412-42FC-A49F-40C8E6AADFF7}" dt="2026-01-07T01:08:04.506" v="5416" actId="14100"/>
        <pc:sldMkLst>
          <pc:docMk/>
          <pc:sldMk cId="903944107" sldId="333"/>
        </pc:sldMkLst>
        <pc:spChg chg="mod">
          <ac:chgData name="JC Montjoy" userId="0e120a3b0f88cb40" providerId="LiveId" clId="{37B0FAD6-8412-42FC-A49F-40C8E6AADFF7}" dt="2026-01-05T23:02:03.584" v="55" actId="20577"/>
          <ac:spMkLst>
            <pc:docMk/>
            <pc:sldMk cId="903944107" sldId="333"/>
            <ac:spMk id="7169" creationId="{B94543C7-8FF2-BC75-17F9-0C2CA9FEE3C5}"/>
          </ac:spMkLst>
        </pc:spChg>
        <pc:picChg chg="add mod">
          <ac:chgData name="JC Montjoy" userId="0e120a3b0f88cb40" providerId="LiveId" clId="{37B0FAD6-8412-42FC-A49F-40C8E6AADFF7}" dt="2026-01-07T01:08:04.506" v="5416" actId="14100"/>
          <ac:picMkLst>
            <pc:docMk/>
            <pc:sldMk cId="903944107" sldId="333"/>
            <ac:picMk id="1036" creationId="{11425FD6-4194-473E-4DE6-6AE1EEA602B7}"/>
          </ac:picMkLst>
        </pc:picChg>
        <pc:picChg chg="add mod">
          <ac:chgData name="JC Montjoy" userId="0e120a3b0f88cb40" providerId="LiveId" clId="{37B0FAD6-8412-42FC-A49F-40C8E6AADFF7}" dt="2026-01-07T01:07:55.295" v="5415" actId="14100"/>
          <ac:picMkLst>
            <pc:docMk/>
            <pc:sldMk cId="903944107" sldId="333"/>
            <ac:picMk id="6146" creationId="{65336A76-9E64-EA31-5B60-02931B1B7D0A}"/>
          </ac:picMkLst>
        </pc:picChg>
      </pc:sldChg>
      <pc:sldChg chg="add del">
        <pc:chgData name="JC Montjoy" userId="0e120a3b0f88cb40" providerId="LiveId" clId="{37B0FAD6-8412-42FC-A49F-40C8E6AADFF7}" dt="2026-01-07T00:38:01.407" v="4592" actId="47"/>
        <pc:sldMkLst>
          <pc:docMk/>
          <pc:sldMk cId="0" sldId="334"/>
        </pc:sldMkLst>
      </pc:sldChg>
      <pc:sldChg chg="modSp add del mod">
        <pc:chgData name="JC Montjoy" userId="0e120a3b0f88cb40" providerId="LiveId" clId="{37B0FAD6-8412-42FC-A49F-40C8E6AADFF7}" dt="2026-01-07T00:38:01.407" v="4592" actId="47"/>
        <pc:sldMkLst>
          <pc:docMk/>
          <pc:sldMk cId="0" sldId="335"/>
        </pc:sldMkLst>
        <pc:spChg chg="mod">
          <ac:chgData name="JC Montjoy" userId="0e120a3b0f88cb40" providerId="LiveId" clId="{37B0FAD6-8412-42FC-A49F-40C8E6AADFF7}" dt="2026-01-06T13:37:04.688" v="66" actId="27636"/>
          <ac:spMkLst>
            <pc:docMk/>
            <pc:sldMk cId="0" sldId="335"/>
            <ac:spMk id="2" creationId="{00000000-0000-0000-0000-000000000000}"/>
          </ac:spMkLst>
        </pc:spChg>
      </pc:sldChg>
      <pc:sldChg chg="modSp add del mod">
        <pc:chgData name="JC Montjoy" userId="0e120a3b0f88cb40" providerId="LiveId" clId="{37B0FAD6-8412-42FC-A49F-40C8E6AADFF7}" dt="2026-01-07T00:57:15.805" v="5286" actId="47"/>
        <pc:sldMkLst>
          <pc:docMk/>
          <pc:sldMk cId="0" sldId="336"/>
        </pc:sldMkLst>
        <pc:spChg chg="mod">
          <ac:chgData name="JC Montjoy" userId="0e120a3b0f88cb40" providerId="LiveId" clId="{37B0FAD6-8412-42FC-A49F-40C8E6AADFF7}" dt="2026-01-06T13:37:04.731" v="67" actId="27636"/>
          <ac:spMkLst>
            <pc:docMk/>
            <pc:sldMk cId="0" sldId="336"/>
            <ac:spMk id="2" creationId="{00000000-0000-0000-0000-000000000000}"/>
          </ac:spMkLst>
        </pc:spChg>
      </pc:sldChg>
      <pc:sldChg chg="add del">
        <pc:chgData name="JC Montjoy" userId="0e120a3b0f88cb40" providerId="LiveId" clId="{37B0FAD6-8412-42FC-A49F-40C8E6AADFF7}" dt="2026-01-07T00:57:20.014" v="5288" actId="47"/>
        <pc:sldMkLst>
          <pc:docMk/>
          <pc:sldMk cId="0" sldId="337"/>
        </pc:sldMkLst>
      </pc:sldChg>
      <pc:sldChg chg="add del">
        <pc:chgData name="JC Montjoy" userId="0e120a3b0f88cb40" providerId="LiveId" clId="{37B0FAD6-8412-42FC-A49F-40C8E6AADFF7}" dt="2026-01-06T23:13:27.626" v="3768" actId="47"/>
        <pc:sldMkLst>
          <pc:docMk/>
          <pc:sldMk cId="0" sldId="338"/>
        </pc:sldMkLst>
      </pc:sldChg>
      <pc:sldChg chg="add del">
        <pc:chgData name="JC Montjoy" userId="0e120a3b0f88cb40" providerId="LiveId" clId="{37B0FAD6-8412-42FC-A49F-40C8E6AADFF7}" dt="2026-01-07T00:57:41.192" v="5290" actId="47"/>
        <pc:sldMkLst>
          <pc:docMk/>
          <pc:sldMk cId="0" sldId="339"/>
        </pc:sldMkLst>
      </pc:sldChg>
      <pc:sldChg chg="add del">
        <pc:chgData name="JC Montjoy" userId="0e120a3b0f88cb40" providerId="LiveId" clId="{37B0FAD6-8412-42FC-A49F-40C8E6AADFF7}" dt="2026-01-07T00:57:41.192" v="5290" actId="47"/>
        <pc:sldMkLst>
          <pc:docMk/>
          <pc:sldMk cId="0" sldId="340"/>
        </pc:sldMkLst>
      </pc:sldChg>
      <pc:sldChg chg="add del">
        <pc:chgData name="JC Montjoy" userId="0e120a3b0f88cb40" providerId="LiveId" clId="{37B0FAD6-8412-42FC-A49F-40C8E6AADFF7}" dt="2026-01-07T00:57:41.192" v="5290" actId="47"/>
        <pc:sldMkLst>
          <pc:docMk/>
          <pc:sldMk cId="0" sldId="341"/>
        </pc:sldMkLst>
      </pc:sldChg>
      <pc:sldChg chg="add del">
        <pc:chgData name="JC Montjoy" userId="0e120a3b0f88cb40" providerId="LiveId" clId="{37B0FAD6-8412-42FC-A49F-40C8E6AADFF7}" dt="2026-01-07T00:57:41.192" v="5290" actId="47"/>
        <pc:sldMkLst>
          <pc:docMk/>
          <pc:sldMk cId="0" sldId="342"/>
        </pc:sldMkLst>
      </pc:sldChg>
      <pc:sldChg chg="add del">
        <pc:chgData name="JC Montjoy" userId="0e120a3b0f88cb40" providerId="LiveId" clId="{37B0FAD6-8412-42FC-A49F-40C8E6AADFF7}" dt="2026-01-07T00:57:41.192" v="5290" actId="47"/>
        <pc:sldMkLst>
          <pc:docMk/>
          <pc:sldMk cId="0" sldId="343"/>
        </pc:sldMkLst>
      </pc:sldChg>
      <pc:sldChg chg="add del">
        <pc:chgData name="JC Montjoy" userId="0e120a3b0f88cb40" providerId="LiveId" clId="{37B0FAD6-8412-42FC-A49F-40C8E6AADFF7}" dt="2026-01-07T00:57:41.192" v="5290" actId="47"/>
        <pc:sldMkLst>
          <pc:docMk/>
          <pc:sldMk cId="0" sldId="344"/>
        </pc:sldMkLst>
      </pc:sldChg>
      <pc:sldChg chg="add del">
        <pc:chgData name="JC Montjoy" userId="0e120a3b0f88cb40" providerId="LiveId" clId="{37B0FAD6-8412-42FC-A49F-40C8E6AADFF7}" dt="2026-01-07T00:57:41.192" v="5290" actId="47"/>
        <pc:sldMkLst>
          <pc:docMk/>
          <pc:sldMk cId="0" sldId="345"/>
        </pc:sldMkLst>
      </pc:sldChg>
      <pc:sldChg chg="add del">
        <pc:chgData name="JC Montjoy" userId="0e120a3b0f88cb40" providerId="LiveId" clId="{37B0FAD6-8412-42FC-A49F-40C8E6AADFF7}" dt="2026-01-07T00:57:41.192" v="5290" actId="47"/>
        <pc:sldMkLst>
          <pc:docMk/>
          <pc:sldMk cId="0" sldId="346"/>
        </pc:sldMkLst>
      </pc:sldChg>
      <pc:sldChg chg="add del">
        <pc:chgData name="JC Montjoy" userId="0e120a3b0f88cb40" providerId="LiveId" clId="{37B0FAD6-8412-42FC-A49F-40C8E6AADFF7}" dt="2026-01-07T00:57:41.192" v="5290" actId="47"/>
        <pc:sldMkLst>
          <pc:docMk/>
          <pc:sldMk cId="0" sldId="347"/>
        </pc:sldMkLst>
      </pc:sldChg>
      <pc:sldChg chg="add del">
        <pc:chgData name="JC Montjoy" userId="0e120a3b0f88cb40" providerId="LiveId" clId="{37B0FAD6-8412-42FC-A49F-40C8E6AADFF7}" dt="2026-01-07T00:57:41.192" v="5290" actId="47"/>
        <pc:sldMkLst>
          <pc:docMk/>
          <pc:sldMk cId="0" sldId="348"/>
        </pc:sldMkLst>
      </pc:sldChg>
      <pc:sldChg chg="add del">
        <pc:chgData name="JC Montjoy" userId="0e120a3b0f88cb40" providerId="LiveId" clId="{37B0FAD6-8412-42FC-A49F-40C8E6AADFF7}" dt="2026-01-07T00:57:41.192" v="5290" actId="47"/>
        <pc:sldMkLst>
          <pc:docMk/>
          <pc:sldMk cId="0" sldId="349"/>
        </pc:sldMkLst>
      </pc:sldChg>
      <pc:sldChg chg="add del">
        <pc:chgData name="JC Montjoy" userId="0e120a3b0f88cb40" providerId="LiveId" clId="{37B0FAD6-8412-42FC-A49F-40C8E6AADFF7}" dt="2026-01-07T00:57:41.192" v="5290" actId="47"/>
        <pc:sldMkLst>
          <pc:docMk/>
          <pc:sldMk cId="0" sldId="350"/>
        </pc:sldMkLst>
      </pc:sldChg>
      <pc:sldChg chg="add del">
        <pc:chgData name="JC Montjoy" userId="0e120a3b0f88cb40" providerId="LiveId" clId="{37B0FAD6-8412-42FC-A49F-40C8E6AADFF7}" dt="2026-01-07T00:57:41.192" v="5290" actId="47"/>
        <pc:sldMkLst>
          <pc:docMk/>
          <pc:sldMk cId="0" sldId="351"/>
        </pc:sldMkLst>
      </pc:sldChg>
      <pc:sldChg chg="add del">
        <pc:chgData name="JC Montjoy" userId="0e120a3b0f88cb40" providerId="LiveId" clId="{37B0FAD6-8412-42FC-A49F-40C8E6AADFF7}" dt="2026-01-07T00:57:41.192" v="5290" actId="47"/>
        <pc:sldMkLst>
          <pc:docMk/>
          <pc:sldMk cId="0" sldId="352"/>
        </pc:sldMkLst>
      </pc:sldChg>
      <pc:sldChg chg="add del">
        <pc:chgData name="JC Montjoy" userId="0e120a3b0f88cb40" providerId="LiveId" clId="{37B0FAD6-8412-42FC-A49F-40C8E6AADFF7}" dt="2026-01-07T00:57:41.192" v="5290" actId="47"/>
        <pc:sldMkLst>
          <pc:docMk/>
          <pc:sldMk cId="0" sldId="353"/>
        </pc:sldMkLst>
      </pc:sldChg>
      <pc:sldChg chg="add del">
        <pc:chgData name="JC Montjoy" userId="0e120a3b0f88cb40" providerId="LiveId" clId="{37B0FAD6-8412-42FC-A49F-40C8E6AADFF7}" dt="2026-01-07T00:57:41.192" v="5290" actId="47"/>
        <pc:sldMkLst>
          <pc:docMk/>
          <pc:sldMk cId="0" sldId="354"/>
        </pc:sldMkLst>
      </pc:sldChg>
      <pc:sldChg chg="add del">
        <pc:chgData name="JC Montjoy" userId="0e120a3b0f88cb40" providerId="LiveId" clId="{37B0FAD6-8412-42FC-A49F-40C8E6AADFF7}" dt="2026-01-07T00:57:41.192" v="5290" actId="47"/>
        <pc:sldMkLst>
          <pc:docMk/>
          <pc:sldMk cId="0" sldId="355"/>
        </pc:sldMkLst>
      </pc:sldChg>
      <pc:sldChg chg="add del">
        <pc:chgData name="JC Montjoy" userId="0e120a3b0f88cb40" providerId="LiveId" clId="{37B0FAD6-8412-42FC-A49F-40C8E6AADFF7}" dt="2026-01-07T00:57:41.192" v="5290" actId="47"/>
        <pc:sldMkLst>
          <pc:docMk/>
          <pc:sldMk cId="0" sldId="356"/>
        </pc:sldMkLst>
      </pc:sldChg>
      <pc:sldChg chg="add del">
        <pc:chgData name="JC Montjoy" userId="0e120a3b0f88cb40" providerId="LiveId" clId="{37B0FAD6-8412-42FC-A49F-40C8E6AADFF7}" dt="2026-01-07T00:57:41.192" v="5290" actId="47"/>
        <pc:sldMkLst>
          <pc:docMk/>
          <pc:sldMk cId="0" sldId="357"/>
        </pc:sldMkLst>
      </pc:sldChg>
      <pc:sldChg chg="add del">
        <pc:chgData name="JC Montjoy" userId="0e120a3b0f88cb40" providerId="LiveId" clId="{37B0FAD6-8412-42FC-A49F-40C8E6AADFF7}" dt="2026-01-06T23:18:26.946" v="3945" actId="47"/>
        <pc:sldMkLst>
          <pc:docMk/>
          <pc:sldMk cId="2032713294" sldId="358"/>
        </pc:sldMkLst>
      </pc:sldChg>
      <pc:sldChg chg="add del">
        <pc:chgData name="JC Montjoy" userId="0e120a3b0f88cb40" providerId="LiveId" clId="{37B0FAD6-8412-42FC-A49F-40C8E6AADFF7}" dt="2026-01-07T00:59:03.492" v="5293" actId="47"/>
        <pc:sldMkLst>
          <pc:docMk/>
          <pc:sldMk cId="1947411190" sldId="359"/>
        </pc:sldMkLst>
      </pc:sldChg>
      <pc:sldChg chg="addSp delSp modSp add del mod">
        <pc:chgData name="JC Montjoy" userId="0e120a3b0f88cb40" providerId="LiveId" clId="{37B0FAD6-8412-42FC-A49F-40C8E6AADFF7}" dt="2026-01-07T00:58:36.581" v="5291" actId="2696"/>
        <pc:sldMkLst>
          <pc:docMk/>
          <pc:sldMk cId="2248947415" sldId="360"/>
        </pc:sldMkLst>
        <pc:spChg chg="mod">
          <ac:chgData name="JC Montjoy" userId="0e120a3b0f88cb40" providerId="LiveId" clId="{37B0FAD6-8412-42FC-A49F-40C8E6AADFF7}" dt="2026-01-06T23:31:55.357" v="4127" actId="948"/>
          <ac:spMkLst>
            <pc:docMk/>
            <pc:sldMk cId="2248947415" sldId="360"/>
            <ac:spMk id="2" creationId="{9456AEE4-40F3-15AE-5530-750D27A12B36}"/>
          </ac:spMkLst>
        </pc:spChg>
        <pc:spChg chg="add del mod modVis">
          <ac:chgData name="JC Montjoy" userId="0e120a3b0f88cb40" providerId="LiveId" clId="{37B0FAD6-8412-42FC-A49F-40C8E6AADFF7}" dt="2026-01-06T23:31:49.620" v="4075"/>
          <ac:spMkLst>
            <pc:docMk/>
            <pc:sldMk cId="2248947415" sldId="360"/>
            <ac:spMk id="3" creationId="{1ABB6302-6D3C-3B91-9432-3329BE955910}"/>
          </ac:spMkLst>
        </pc:spChg>
        <pc:spChg chg="del">
          <ac:chgData name="JC Montjoy" userId="0e120a3b0f88cb40" providerId="LiveId" clId="{37B0FAD6-8412-42FC-A49F-40C8E6AADFF7}" dt="2026-01-06T13:37:05.958" v="70" actId="478"/>
          <ac:spMkLst>
            <pc:docMk/>
            <pc:sldMk cId="2248947415" sldId="360"/>
            <ac:spMk id="3" creationId="{42764B8D-867B-3CA6-C83C-DED534DD6608}"/>
          </ac:spMkLst>
        </pc:spChg>
        <pc:spChg chg="add del mod modVis">
          <ac:chgData name="JC Montjoy" userId="0e120a3b0f88cb40" providerId="LiveId" clId="{37B0FAD6-8412-42FC-A49F-40C8E6AADFF7}" dt="2026-01-06T23:31:52.274" v="4108"/>
          <ac:spMkLst>
            <pc:docMk/>
            <pc:sldMk cId="2248947415" sldId="360"/>
            <ac:spMk id="4" creationId="{EA506CC7-D569-93CF-85D9-304A183D469F}"/>
          </ac:spMkLst>
        </pc:spChg>
        <pc:spChg chg="add del mod modVis">
          <ac:chgData name="JC Montjoy" userId="0e120a3b0f88cb40" providerId="LiveId" clId="{37B0FAD6-8412-42FC-A49F-40C8E6AADFF7}" dt="2026-01-06T23:31:55.405" v="4148"/>
          <ac:spMkLst>
            <pc:docMk/>
            <pc:sldMk cId="2248947415" sldId="360"/>
            <ac:spMk id="5" creationId="{AB5C4E6D-E7C5-0D50-EF44-9FF0D29551FC}"/>
          </ac:spMkLst>
        </pc:spChg>
        <pc:spChg chg="add del mod">
          <ac:chgData name="JC Montjoy" userId="0e120a3b0f88cb40" providerId="LiveId" clId="{37B0FAD6-8412-42FC-A49F-40C8E6AADFF7}" dt="2026-01-06T13:37:18.119" v="143" actId="478"/>
          <ac:spMkLst>
            <pc:docMk/>
            <pc:sldMk cId="2248947415" sldId="360"/>
            <ac:spMk id="5" creationId="{FFCF3ADF-8CD8-08D0-5661-AC3C678EB096}"/>
          </ac:spMkLst>
        </pc:spChg>
        <pc:graphicFrameChg chg="add mod ord modVis">
          <ac:chgData name="JC Montjoy" userId="0e120a3b0f88cb40" providerId="LiveId" clId="{37B0FAD6-8412-42FC-A49F-40C8E6AADFF7}" dt="2026-01-06T23:31:55.405" v="4150"/>
          <ac:graphicFrameMkLst>
            <pc:docMk/>
            <pc:sldMk cId="2248947415" sldId="360"/>
            <ac:graphicFrameMk id="6" creationId="{058E842B-38C2-0690-820C-310572650CAD}"/>
          </ac:graphicFrameMkLst>
        </pc:graphicFrameChg>
        <pc:picChg chg="add del mod">
          <ac:chgData name="JC Montjoy" userId="0e120a3b0f88cb40" providerId="LiveId" clId="{37B0FAD6-8412-42FC-A49F-40C8E6AADFF7}" dt="2026-01-06T23:33:34.875" v="4159" actId="478"/>
          <ac:picMkLst>
            <pc:docMk/>
            <pc:sldMk cId="2248947415" sldId="360"/>
            <ac:picMk id="8" creationId="{BB61E387-FD11-17FF-36ED-01B51C4169A6}"/>
          </ac:picMkLst>
        </pc:picChg>
        <pc:picChg chg="add mod">
          <ac:chgData name="JC Montjoy" userId="0e120a3b0f88cb40" providerId="LiveId" clId="{37B0FAD6-8412-42FC-A49F-40C8E6AADFF7}" dt="2026-01-06T23:31:37.473" v="4043" actId="14100"/>
          <ac:picMkLst>
            <pc:docMk/>
            <pc:sldMk cId="2248947415" sldId="360"/>
            <ac:picMk id="11266" creationId="{3BE32CFC-69A6-1752-04B5-936CC5998D60}"/>
          </ac:picMkLst>
        </pc:picChg>
        <pc:picChg chg="add del mod">
          <ac:chgData name="JC Montjoy" userId="0e120a3b0f88cb40" providerId="LiveId" clId="{37B0FAD6-8412-42FC-A49F-40C8E6AADFF7}" dt="2026-01-06T23:32:54.467" v="4155" actId="478"/>
          <ac:picMkLst>
            <pc:docMk/>
            <pc:sldMk cId="2248947415" sldId="360"/>
            <ac:picMk id="11268" creationId="{100740DA-54B7-8047-DA92-EF4129353A08}"/>
          </ac:picMkLst>
        </pc:picChg>
        <pc:picChg chg="add del mod">
          <ac:chgData name="JC Montjoy" userId="0e120a3b0f88cb40" providerId="LiveId" clId="{37B0FAD6-8412-42FC-A49F-40C8E6AADFF7}" dt="2026-01-06T23:35:48.533" v="4163" actId="478"/>
          <ac:picMkLst>
            <pc:docMk/>
            <pc:sldMk cId="2248947415" sldId="360"/>
            <ac:picMk id="11270" creationId="{167B0AB5-3AB5-526C-09F5-0465699F7E44}"/>
          </ac:picMkLst>
        </pc:picChg>
        <pc:picChg chg="add mod">
          <ac:chgData name="JC Montjoy" userId="0e120a3b0f88cb40" providerId="LiveId" clId="{37B0FAD6-8412-42FC-A49F-40C8E6AADFF7}" dt="2026-01-06T23:36:02.913" v="4167" actId="1076"/>
          <ac:picMkLst>
            <pc:docMk/>
            <pc:sldMk cId="2248947415" sldId="360"/>
            <ac:picMk id="11272" creationId="{84C72316-64C0-C0E9-D156-FE495F7EFBB1}"/>
          </ac:picMkLst>
        </pc:picChg>
      </pc:sldChg>
      <pc:sldChg chg="add">
        <pc:chgData name="JC Montjoy" userId="0e120a3b0f88cb40" providerId="LiveId" clId="{37B0FAD6-8412-42FC-A49F-40C8E6AADFF7}" dt="2026-01-07T00:58:41.260" v="5292"/>
        <pc:sldMkLst>
          <pc:docMk/>
          <pc:sldMk cId="3753868770" sldId="360"/>
        </pc:sldMkLst>
      </pc:sldChg>
      <pc:sldChg chg="addSp delSp modSp add del mod modNotesTx">
        <pc:chgData name="JC Montjoy" userId="0e120a3b0f88cb40" providerId="LiveId" clId="{37B0FAD6-8412-42FC-A49F-40C8E6AADFF7}" dt="2026-01-06T22:25:49.627" v="1706" actId="47"/>
        <pc:sldMkLst>
          <pc:docMk/>
          <pc:sldMk cId="2001874043" sldId="361"/>
        </pc:sldMkLst>
        <pc:spChg chg="add del mod modVis">
          <ac:chgData name="JC Montjoy" userId="0e120a3b0f88cb40" providerId="LiveId" clId="{37B0FAD6-8412-42FC-A49F-40C8E6AADFF7}" dt="2026-01-06T15:52:50.693" v="1120"/>
          <ac:spMkLst>
            <pc:docMk/>
            <pc:sldMk cId="2001874043" sldId="361"/>
            <ac:spMk id="2" creationId="{529796A7-30FC-DE5D-6E53-DBF2809321ED}"/>
          </ac:spMkLst>
        </pc:spChg>
        <pc:spChg chg="mod">
          <ac:chgData name="JC Montjoy" userId="0e120a3b0f88cb40" providerId="LiveId" clId="{37B0FAD6-8412-42FC-A49F-40C8E6AADFF7}" dt="2026-01-06T15:53:34.559" v="1350" actId="20577"/>
          <ac:spMkLst>
            <pc:docMk/>
            <pc:sldMk cId="2001874043" sldId="361"/>
            <ac:spMk id="4" creationId="{60DE3F79-42C2-0C03-D5FD-5E92D83A5F2E}"/>
          </ac:spMkLst>
        </pc:spChg>
        <pc:spChg chg="mod">
          <ac:chgData name="JC Montjoy" userId="0e120a3b0f88cb40" providerId="LiveId" clId="{37B0FAD6-8412-42FC-A49F-40C8E6AADFF7}" dt="2026-01-06T15:52:55.697" v="1187" actId="948"/>
          <ac:spMkLst>
            <pc:docMk/>
            <pc:sldMk cId="2001874043" sldId="361"/>
            <ac:spMk id="5" creationId="{3CE62942-E538-E5BD-22E6-64387E213E34}"/>
          </ac:spMkLst>
        </pc:spChg>
        <pc:spChg chg="add del mod modVis">
          <ac:chgData name="JC Montjoy" userId="0e120a3b0f88cb40" providerId="LiveId" clId="{37B0FAD6-8412-42FC-A49F-40C8E6AADFF7}" dt="2026-01-06T15:52:53.496" v="1157"/>
          <ac:spMkLst>
            <pc:docMk/>
            <pc:sldMk cId="2001874043" sldId="361"/>
            <ac:spMk id="6" creationId="{F15AEA04-F438-50DF-1C0B-2FDE4809B995}"/>
          </ac:spMkLst>
        </pc:spChg>
        <pc:spChg chg="add del mod modVis">
          <ac:chgData name="JC Montjoy" userId="0e120a3b0f88cb40" providerId="LiveId" clId="{37B0FAD6-8412-42FC-A49F-40C8E6AADFF7}" dt="2026-01-06T15:52:54.378" v="1182"/>
          <ac:spMkLst>
            <pc:docMk/>
            <pc:sldMk cId="2001874043" sldId="361"/>
            <ac:spMk id="7" creationId="{9D0AEBB7-1CB9-0192-2BB8-F9C701B707CB}"/>
          </ac:spMkLst>
        </pc:spChg>
        <pc:spChg chg="add del mod modVis">
          <ac:chgData name="JC Montjoy" userId="0e120a3b0f88cb40" providerId="LiveId" clId="{37B0FAD6-8412-42FC-A49F-40C8E6AADFF7}" dt="2026-01-06T15:52:55.710" v="1208"/>
          <ac:spMkLst>
            <pc:docMk/>
            <pc:sldMk cId="2001874043" sldId="361"/>
            <ac:spMk id="8" creationId="{BA7AF67A-E4E2-E08D-D9B8-E5484E05DB2C}"/>
          </ac:spMkLst>
        </pc:spChg>
        <pc:spChg chg="mod">
          <ac:chgData name="JC Montjoy" userId="0e120a3b0f88cb40" providerId="LiveId" clId="{37B0FAD6-8412-42FC-A49F-40C8E6AADFF7}" dt="2026-01-06T22:17:34.204" v="1633"/>
          <ac:spMkLst>
            <pc:docMk/>
            <pc:sldMk cId="2001874043" sldId="361"/>
            <ac:spMk id="31746" creationId="{E09E453B-0829-F13D-4CE1-CC48106F5195}"/>
          </ac:spMkLst>
        </pc:spChg>
        <pc:graphicFrameChg chg="add mod ord modVis">
          <ac:chgData name="JC Montjoy" userId="0e120a3b0f88cb40" providerId="LiveId" clId="{37B0FAD6-8412-42FC-A49F-40C8E6AADFF7}" dt="2026-01-06T15:52:55.714" v="1210"/>
          <ac:graphicFrameMkLst>
            <pc:docMk/>
            <pc:sldMk cId="2001874043" sldId="361"/>
            <ac:graphicFrameMk id="3" creationId="{996B52E7-C97C-AF9A-2FB0-FECCB5A0FB71}"/>
          </ac:graphicFrameMkLst>
        </pc:graphicFrameChg>
        <pc:picChg chg="del">
          <ac:chgData name="JC Montjoy" userId="0e120a3b0f88cb40" providerId="LiveId" clId="{37B0FAD6-8412-42FC-A49F-40C8E6AADFF7}" dt="2026-01-06T22:17:38.846" v="1634" actId="21"/>
          <ac:picMkLst>
            <pc:docMk/>
            <pc:sldMk cId="2001874043" sldId="361"/>
            <ac:picMk id="2" creationId="{77487DA9-C83C-50F5-88FC-ACCFD6E003B9}"/>
          </ac:picMkLst>
        </pc:picChg>
      </pc:sldChg>
      <pc:sldChg chg="addSp delSp modSp add mod setBg">
        <pc:chgData name="JC Montjoy" userId="0e120a3b0f88cb40" providerId="LiveId" clId="{37B0FAD6-8412-42FC-A49F-40C8E6AADFF7}" dt="2026-01-06T21:56:50.908" v="1364" actId="26606"/>
        <pc:sldMkLst>
          <pc:docMk/>
          <pc:sldMk cId="1267877683" sldId="362"/>
        </pc:sldMkLst>
        <pc:spChg chg="add del">
          <ac:chgData name="JC Montjoy" userId="0e120a3b0f88cb40" providerId="LiveId" clId="{37B0FAD6-8412-42FC-A49F-40C8E6AADFF7}" dt="2026-01-06T21:56:50.875" v="1363" actId="26606"/>
          <ac:spMkLst>
            <pc:docMk/>
            <pc:sldMk cId="1267877683" sldId="362"/>
            <ac:spMk id="2055" creationId="{CDDE5CDF-1512-4CDA-B956-23D223F8DE44}"/>
          </ac:spMkLst>
        </pc:spChg>
        <pc:spChg chg="add del">
          <ac:chgData name="JC Montjoy" userId="0e120a3b0f88cb40" providerId="LiveId" clId="{37B0FAD6-8412-42FC-A49F-40C8E6AADFF7}" dt="2026-01-06T21:56:50.875" v="1363" actId="26606"/>
          <ac:spMkLst>
            <pc:docMk/>
            <pc:sldMk cId="1267877683" sldId="362"/>
            <ac:spMk id="2061" creationId="{F1176DA6-4BBF-42A4-9C94-E6613CCD6B37}"/>
          </ac:spMkLst>
        </pc:spChg>
        <pc:spChg chg="add del">
          <ac:chgData name="JC Montjoy" userId="0e120a3b0f88cb40" providerId="LiveId" clId="{37B0FAD6-8412-42FC-A49F-40C8E6AADFF7}" dt="2026-01-06T21:56:50.875" v="1363" actId="26606"/>
          <ac:spMkLst>
            <pc:docMk/>
            <pc:sldMk cId="1267877683" sldId="362"/>
            <ac:spMk id="2063" creationId="{99AAB0AE-172B-4FB4-80C2-86CD6B824220}"/>
          </ac:spMkLst>
        </pc:spChg>
        <pc:spChg chg="add">
          <ac:chgData name="JC Montjoy" userId="0e120a3b0f88cb40" providerId="LiveId" clId="{37B0FAD6-8412-42FC-A49F-40C8E6AADFF7}" dt="2026-01-06T21:56:50.908" v="1364" actId="26606"/>
          <ac:spMkLst>
            <pc:docMk/>
            <pc:sldMk cId="1267877683" sldId="362"/>
            <ac:spMk id="2065" creationId="{CDDE5CDF-1512-4CDA-B956-23D223F8DE44}"/>
          </ac:spMkLst>
        </pc:spChg>
        <pc:spChg chg="add">
          <ac:chgData name="JC Montjoy" userId="0e120a3b0f88cb40" providerId="LiveId" clId="{37B0FAD6-8412-42FC-A49F-40C8E6AADFF7}" dt="2026-01-06T21:56:50.908" v="1364" actId="26606"/>
          <ac:spMkLst>
            <pc:docMk/>
            <pc:sldMk cId="1267877683" sldId="362"/>
            <ac:spMk id="2068" creationId="{B6E6531A-0776-43BA-A852-5FB5C77534D5}"/>
          </ac:spMkLst>
        </pc:spChg>
        <pc:spChg chg="add">
          <ac:chgData name="JC Montjoy" userId="0e120a3b0f88cb40" providerId="LiveId" clId="{37B0FAD6-8412-42FC-A49F-40C8E6AADFF7}" dt="2026-01-06T21:56:50.908" v="1364" actId="26606"/>
          <ac:spMkLst>
            <pc:docMk/>
            <pc:sldMk cId="1267877683" sldId="362"/>
            <ac:spMk id="2069" creationId="{F8C5273F-2B84-46BF-A94F-1A20E13B3AA1}"/>
          </ac:spMkLst>
        </pc:spChg>
        <pc:picChg chg="del">
          <ac:chgData name="JC Montjoy" userId="0e120a3b0f88cb40" providerId="LiveId" clId="{37B0FAD6-8412-42FC-A49F-40C8E6AADFF7}" dt="2026-01-06T21:56:30.386" v="1360" actId="478"/>
          <ac:picMkLst>
            <pc:docMk/>
            <pc:sldMk cId="1267877683" sldId="362"/>
            <ac:picMk id="2" creationId="{FC8DBB63-9BFA-DEA0-932D-E21EA7DBFA0A}"/>
          </ac:picMkLst>
        </pc:picChg>
        <pc:picChg chg="add mod">
          <ac:chgData name="JC Montjoy" userId="0e120a3b0f88cb40" providerId="LiveId" clId="{37B0FAD6-8412-42FC-A49F-40C8E6AADFF7}" dt="2026-01-06T21:56:50.908" v="1364" actId="26606"/>
          <ac:picMkLst>
            <pc:docMk/>
            <pc:sldMk cId="1267877683" sldId="362"/>
            <ac:picMk id="2050" creationId="{0C462266-3EAF-BC0B-C700-6190A2523CC9}"/>
          </ac:picMkLst>
        </pc:picChg>
        <pc:picChg chg="add del">
          <ac:chgData name="JC Montjoy" userId="0e120a3b0f88cb40" providerId="LiveId" clId="{37B0FAD6-8412-42FC-A49F-40C8E6AADFF7}" dt="2026-01-06T21:56:50.875" v="1363" actId="26606"/>
          <ac:picMkLst>
            <pc:docMk/>
            <pc:sldMk cId="1267877683" sldId="362"/>
            <ac:picMk id="2057" creationId="{B029D7D8-5A6B-4C76-94C8-15798C6C5ADB}"/>
          </ac:picMkLst>
        </pc:picChg>
        <pc:picChg chg="add">
          <ac:chgData name="JC Montjoy" userId="0e120a3b0f88cb40" providerId="LiveId" clId="{37B0FAD6-8412-42FC-A49F-40C8E6AADFF7}" dt="2026-01-06T21:56:50.908" v="1364" actId="26606"/>
          <ac:picMkLst>
            <pc:docMk/>
            <pc:sldMk cId="1267877683" sldId="362"/>
            <ac:picMk id="2066" creationId="{B029D7D8-5A6B-4C76-94C8-15798C6C5ADB}"/>
          </ac:picMkLst>
        </pc:picChg>
        <pc:cxnChg chg="add del">
          <ac:chgData name="JC Montjoy" userId="0e120a3b0f88cb40" providerId="LiveId" clId="{37B0FAD6-8412-42FC-A49F-40C8E6AADFF7}" dt="2026-01-06T21:56:50.875" v="1363" actId="26606"/>
          <ac:cxnSpMkLst>
            <pc:docMk/>
            <pc:sldMk cId="1267877683" sldId="362"/>
            <ac:cxnSpMk id="2059" creationId="{A5C9319C-E20D-4884-952F-60B6A58C3E34}"/>
          </ac:cxnSpMkLst>
        </pc:cxnChg>
        <pc:cxnChg chg="add">
          <ac:chgData name="JC Montjoy" userId="0e120a3b0f88cb40" providerId="LiveId" clId="{37B0FAD6-8412-42FC-A49F-40C8E6AADFF7}" dt="2026-01-06T21:56:50.908" v="1364" actId="26606"/>
          <ac:cxnSpMkLst>
            <pc:docMk/>
            <pc:sldMk cId="1267877683" sldId="362"/>
            <ac:cxnSpMk id="2067" creationId="{A5C9319C-E20D-4884-952F-60B6A58C3E34}"/>
          </ac:cxnSpMkLst>
        </pc:cxnChg>
      </pc:sldChg>
      <pc:sldChg chg="addSp delSp modSp add mod modNotesTx">
        <pc:chgData name="JC Montjoy" userId="0e120a3b0f88cb40" providerId="LiveId" clId="{37B0FAD6-8412-42FC-A49F-40C8E6AADFF7}" dt="2026-01-06T22:21:34.991" v="1665" actId="6549"/>
        <pc:sldMkLst>
          <pc:docMk/>
          <pc:sldMk cId="3696409542" sldId="363"/>
        </pc:sldMkLst>
        <pc:spChg chg="mod">
          <ac:chgData name="JC Montjoy" userId="0e120a3b0f88cb40" providerId="LiveId" clId="{37B0FAD6-8412-42FC-A49F-40C8E6AADFF7}" dt="2026-01-06T22:21:09.234" v="1664" actId="6549"/>
          <ac:spMkLst>
            <pc:docMk/>
            <pc:sldMk cId="3696409542" sldId="363"/>
            <ac:spMk id="18434" creationId="{3FD9AE47-84A7-5FAA-950C-9A48AD082F32}"/>
          </ac:spMkLst>
        </pc:spChg>
        <pc:picChg chg="del">
          <ac:chgData name="JC Montjoy" userId="0e120a3b0f88cb40" providerId="LiveId" clId="{37B0FAD6-8412-42FC-A49F-40C8E6AADFF7}" dt="2026-01-06T22:12:14.483" v="1516" actId="478"/>
          <ac:picMkLst>
            <pc:docMk/>
            <pc:sldMk cId="3696409542" sldId="363"/>
            <ac:picMk id="2" creationId="{621DA330-613E-9E90-BA48-24F294063113}"/>
          </ac:picMkLst>
        </pc:picChg>
        <pc:picChg chg="add mod">
          <ac:chgData name="JC Montjoy" userId="0e120a3b0f88cb40" providerId="LiveId" clId="{37B0FAD6-8412-42FC-A49F-40C8E6AADFF7}" dt="2026-01-06T22:20:59.863" v="1663" actId="1076"/>
          <ac:picMkLst>
            <pc:docMk/>
            <pc:sldMk cId="3696409542" sldId="363"/>
            <ac:picMk id="4" creationId="{77487DA9-C83C-50F5-88FC-ACCFD6E003B9}"/>
          </ac:picMkLst>
        </pc:picChg>
        <pc:picChg chg="add mod">
          <ac:chgData name="JC Montjoy" userId="0e120a3b0f88cb40" providerId="LiveId" clId="{37B0FAD6-8412-42FC-A49F-40C8E6AADFF7}" dt="2026-01-06T22:20:53.675" v="1662" actId="1076"/>
          <ac:picMkLst>
            <pc:docMk/>
            <pc:sldMk cId="3696409542" sldId="363"/>
            <ac:picMk id="6" creationId="{23F661A9-5064-1888-FA3A-D497011ABFE2}"/>
          </ac:picMkLst>
        </pc:picChg>
      </pc:sldChg>
      <pc:sldChg chg="addSp delSp modSp add mod modNotesTx">
        <pc:chgData name="JC Montjoy" userId="0e120a3b0f88cb40" providerId="LiveId" clId="{37B0FAD6-8412-42FC-A49F-40C8E6AADFF7}" dt="2026-01-06T22:38:36.869" v="3087" actId="20577"/>
        <pc:sldMkLst>
          <pc:docMk/>
          <pc:sldMk cId="3161875100" sldId="364"/>
        </pc:sldMkLst>
        <pc:spChg chg="add del mod modVis">
          <ac:chgData name="JC Montjoy" userId="0e120a3b0f88cb40" providerId="LiveId" clId="{37B0FAD6-8412-42FC-A49F-40C8E6AADFF7}" dt="2026-01-06T22:25:58.430" v="1764"/>
          <ac:spMkLst>
            <pc:docMk/>
            <pc:sldMk cId="3161875100" sldId="364"/>
            <ac:spMk id="2" creationId="{049CA99E-9C8D-B886-0EB6-3D05A8745DB7}"/>
          </ac:spMkLst>
        </pc:spChg>
        <pc:spChg chg="mod">
          <ac:chgData name="JC Montjoy" userId="0e120a3b0f88cb40" providerId="LiveId" clId="{37B0FAD6-8412-42FC-A49F-40C8E6AADFF7}" dt="2026-01-06T22:27:43.334" v="2389" actId="948"/>
          <ac:spMkLst>
            <pc:docMk/>
            <pc:sldMk cId="3161875100" sldId="364"/>
            <ac:spMk id="5" creationId="{06EB12D4-9839-A85A-D73B-C680ED4ED6ED}"/>
          </ac:spMkLst>
        </pc:spChg>
        <pc:spChg chg="add del mod modVis">
          <ac:chgData name="JC Montjoy" userId="0e120a3b0f88cb40" providerId="LiveId" clId="{37B0FAD6-8412-42FC-A49F-40C8E6AADFF7}" dt="2026-01-06T22:25:59.934" v="1793"/>
          <ac:spMkLst>
            <pc:docMk/>
            <pc:sldMk cId="3161875100" sldId="364"/>
            <ac:spMk id="7" creationId="{416A8CBF-06F3-E1FD-0D3C-8526B85B6FDF}"/>
          </ac:spMkLst>
        </pc:spChg>
        <pc:spChg chg="add del mod modVis">
          <ac:chgData name="JC Montjoy" userId="0e120a3b0f88cb40" providerId="LiveId" clId="{37B0FAD6-8412-42FC-A49F-40C8E6AADFF7}" dt="2026-01-06T22:26:00.898" v="1820"/>
          <ac:spMkLst>
            <pc:docMk/>
            <pc:sldMk cId="3161875100" sldId="364"/>
            <ac:spMk id="8" creationId="{A41323EA-39C3-FBC9-D9BD-0FE87ABBADA5}"/>
          </ac:spMkLst>
        </pc:spChg>
        <pc:spChg chg="add del mod modVis">
          <ac:chgData name="JC Montjoy" userId="0e120a3b0f88cb40" providerId="LiveId" clId="{37B0FAD6-8412-42FC-A49F-40C8E6AADFF7}" dt="2026-01-06T22:26:03.235" v="1854"/>
          <ac:spMkLst>
            <pc:docMk/>
            <pc:sldMk cId="3161875100" sldId="364"/>
            <ac:spMk id="9" creationId="{027ECDE5-417A-C442-5655-086A29B3866D}"/>
          </ac:spMkLst>
        </pc:spChg>
        <pc:spChg chg="add del mod modVis">
          <ac:chgData name="JC Montjoy" userId="0e120a3b0f88cb40" providerId="LiveId" clId="{37B0FAD6-8412-42FC-A49F-40C8E6AADFF7}" dt="2026-01-06T22:26:30.351" v="1911"/>
          <ac:spMkLst>
            <pc:docMk/>
            <pc:sldMk cId="3161875100" sldId="364"/>
            <ac:spMk id="10" creationId="{9F18219D-13A7-F9C1-5565-3B5379FE835A}"/>
          </ac:spMkLst>
        </pc:spChg>
        <pc:spChg chg="add del mod modVis">
          <ac:chgData name="JC Montjoy" userId="0e120a3b0f88cb40" providerId="LiveId" clId="{37B0FAD6-8412-42FC-A49F-40C8E6AADFF7}" dt="2026-01-06T22:26:31.825" v="1943"/>
          <ac:spMkLst>
            <pc:docMk/>
            <pc:sldMk cId="3161875100" sldId="364"/>
            <ac:spMk id="11" creationId="{61B7FAD8-1925-D660-D377-12C56CD36DC6}"/>
          </ac:spMkLst>
        </pc:spChg>
        <pc:spChg chg="add del mod modVis">
          <ac:chgData name="JC Montjoy" userId="0e120a3b0f88cb40" providerId="LiveId" clId="{37B0FAD6-8412-42FC-A49F-40C8E6AADFF7}" dt="2026-01-06T22:26:33.433" v="1972"/>
          <ac:spMkLst>
            <pc:docMk/>
            <pc:sldMk cId="3161875100" sldId="364"/>
            <ac:spMk id="12" creationId="{22C5B602-EE16-4D49-B79D-C9439E1878DD}"/>
          </ac:spMkLst>
        </pc:spChg>
        <pc:spChg chg="add del mod modVis">
          <ac:chgData name="JC Montjoy" userId="0e120a3b0f88cb40" providerId="LiveId" clId="{37B0FAD6-8412-42FC-A49F-40C8E6AADFF7}" dt="2026-01-06T22:26:35.361" v="2013"/>
          <ac:spMkLst>
            <pc:docMk/>
            <pc:sldMk cId="3161875100" sldId="364"/>
            <ac:spMk id="13" creationId="{B2649ADB-7320-1377-C8DE-91B605E7C27C}"/>
          </ac:spMkLst>
        </pc:spChg>
        <pc:spChg chg="add del mod modVis">
          <ac:chgData name="JC Montjoy" userId="0e120a3b0f88cb40" providerId="LiveId" clId="{37B0FAD6-8412-42FC-A49F-40C8E6AADFF7}" dt="2026-01-06T22:26:38.252" v="2039"/>
          <ac:spMkLst>
            <pc:docMk/>
            <pc:sldMk cId="3161875100" sldId="364"/>
            <ac:spMk id="14" creationId="{794327B9-230F-0B22-30B0-AAD3F5B1E6BF}"/>
          </ac:spMkLst>
        </pc:spChg>
        <pc:spChg chg="add del mod">
          <ac:chgData name="JC Montjoy" userId="0e120a3b0f88cb40" providerId="LiveId" clId="{37B0FAD6-8412-42FC-A49F-40C8E6AADFF7}" dt="2026-01-06T22:27:46.067" v="2413" actId="478"/>
          <ac:spMkLst>
            <pc:docMk/>
            <pc:sldMk cId="3161875100" sldId="364"/>
            <ac:spMk id="15" creationId="{1D7025B5-974B-4017-EC27-66FACF6F26F5}"/>
          </ac:spMkLst>
        </pc:spChg>
        <pc:spChg chg="add del mod modVis">
          <ac:chgData name="JC Montjoy" userId="0e120a3b0f88cb40" providerId="LiveId" clId="{37B0FAD6-8412-42FC-A49F-40C8E6AADFF7}" dt="2026-01-06T22:27:31.813" v="2142"/>
          <ac:spMkLst>
            <pc:docMk/>
            <pc:sldMk cId="3161875100" sldId="364"/>
            <ac:spMk id="16" creationId="{A4E64B45-8961-A78B-63EA-AAC0F378601D}"/>
          </ac:spMkLst>
        </pc:spChg>
        <pc:spChg chg="add del mod modVis">
          <ac:chgData name="JC Montjoy" userId="0e120a3b0f88cb40" providerId="LiveId" clId="{37B0FAD6-8412-42FC-A49F-40C8E6AADFF7}" dt="2026-01-06T22:27:32.645" v="2170"/>
          <ac:spMkLst>
            <pc:docMk/>
            <pc:sldMk cId="3161875100" sldId="364"/>
            <ac:spMk id="17" creationId="{D98F94F4-D1B8-4465-59FF-C8ECB7F60BA0}"/>
          </ac:spMkLst>
        </pc:spChg>
        <pc:spChg chg="add del mod modVis">
          <ac:chgData name="JC Montjoy" userId="0e120a3b0f88cb40" providerId="LiveId" clId="{37B0FAD6-8412-42FC-A49F-40C8E6AADFF7}" dt="2026-01-06T22:27:34.372" v="2201"/>
          <ac:spMkLst>
            <pc:docMk/>
            <pc:sldMk cId="3161875100" sldId="364"/>
            <ac:spMk id="18" creationId="{07B5EACE-00B5-A58B-FFF2-2F3C5287E6BD}"/>
          </ac:spMkLst>
        </pc:spChg>
        <pc:spChg chg="add del mod modVis">
          <ac:chgData name="JC Montjoy" userId="0e120a3b0f88cb40" providerId="LiveId" clId="{37B0FAD6-8412-42FC-A49F-40C8E6AADFF7}" dt="2026-01-06T22:27:35.277" v="2228"/>
          <ac:spMkLst>
            <pc:docMk/>
            <pc:sldMk cId="3161875100" sldId="364"/>
            <ac:spMk id="19" creationId="{4566242E-1017-6783-5041-C3FD2E4F6DEA}"/>
          </ac:spMkLst>
        </pc:spChg>
        <pc:spChg chg="add del mod modVis">
          <ac:chgData name="JC Montjoy" userId="0e120a3b0f88cb40" providerId="LiveId" clId="{37B0FAD6-8412-42FC-A49F-40C8E6AADFF7}" dt="2026-01-06T22:27:36.963" v="2258"/>
          <ac:spMkLst>
            <pc:docMk/>
            <pc:sldMk cId="3161875100" sldId="364"/>
            <ac:spMk id="20" creationId="{3D54D40E-99BA-323F-96BB-5A81A6A86806}"/>
          </ac:spMkLst>
        </pc:spChg>
        <pc:spChg chg="add del mod modVis">
          <ac:chgData name="JC Montjoy" userId="0e120a3b0f88cb40" providerId="LiveId" clId="{37B0FAD6-8412-42FC-A49F-40C8E6AADFF7}" dt="2026-01-06T22:27:37.500" v="2283"/>
          <ac:spMkLst>
            <pc:docMk/>
            <pc:sldMk cId="3161875100" sldId="364"/>
            <ac:spMk id="21" creationId="{92CD7975-4FD5-4099-8C41-950BB1278972}"/>
          </ac:spMkLst>
        </pc:spChg>
        <pc:spChg chg="add del mod modVis">
          <ac:chgData name="JC Montjoy" userId="0e120a3b0f88cb40" providerId="LiveId" clId="{37B0FAD6-8412-42FC-A49F-40C8E6AADFF7}" dt="2026-01-06T22:27:40.634" v="2327"/>
          <ac:spMkLst>
            <pc:docMk/>
            <pc:sldMk cId="3161875100" sldId="364"/>
            <ac:spMk id="22" creationId="{809B91C9-4FE1-68D8-4E31-2F197EED5E43}"/>
          </ac:spMkLst>
        </pc:spChg>
        <pc:spChg chg="add del mod modVis">
          <ac:chgData name="JC Montjoy" userId="0e120a3b0f88cb40" providerId="LiveId" clId="{37B0FAD6-8412-42FC-A49F-40C8E6AADFF7}" dt="2026-01-06T22:27:41.816" v="2358"/>
          <ac:spMkLst>
            <pc:docMk/>
            <pc:sldMk cId="3161875100" sldId="364"/>
            <ac:spMk id="23" creationId="{D6F0246F-C37D-9026-B550-6BDC188374E2}"/>
          </ac:spMkLst>
        </pc:spChg>
        <pc:spChg chg="add del mod modVis">
          <ac:chgData name="JC Montjoy" userId="0e120a3b0f88cb40" providerId="LiveId" clId="{37B0FAD6-8412-42FC-A49F-40C8E6AADFF7}" dt="2026-01-06T22:27:42.646" v="2385"/>
          <ac:spMkLst>
            <pc:docMk/>
            <pc:sldMk cId="3161875100" sldId="364"/>
            <ac:spMk id="24" creationId="{B60D4750-80E0-62C8-DE27-F9A0D8197938}"/>
          </ac:spMkLst>
        </pc:spChg>
        <pc:spChg chg="add del mod modVis">
          <ac:chgData name="JC Montjoy" userId="0e120a3b0f88cb40" providerId="LiveId" clId="{37B0FAD6-8412-42FC-A49F-40C8E6AADFF7}" dt="2026-01-06T22:27:43.367" v="2410"/>
          <ac:spMkLst>
            <pc:docMk/>
            <pc:sldMk cId="3161875100" sldId="364"/>
            <ac:spMk id="25" creationId="{7627559C-44A2-9132-BFBE-34E43A2B00A9}"/>
          </ac:spMkLst>
        </pc:spChg>
        <pc:spChg chg="add del mod">
          <ac:chgData name="JC Montjoy" userId="0e120a3b0f88cb40" providerId="LiveId" clId="{37B0FAD6-8412-42FC-A49F-40C8E6AADFF7}" dt="2026-01-06T22:32:48.311" v="2736" actId="478"/>
          <ac:spMkLst>
            <pc:docMk/>
            <pc:sldMk cId="3161875100" sldId="364"/>
            <ac:spMk id="26" creationId="{AF178640-72F9-ACD1-8A2A-345C5FB5A425}"/>
          </ac:spMkLst>
        </pc:spChg>
        <pc:spChg chg="del">
          <ac:chgData name="JC Montjoy" userId="0e120a3b0f88cb40" providerId="LiveId" clId="{37B0FAD6-8412-42FC-A49F-40C8E6AADFF7}" dt="2026-01-06T22:26:06.509" v="1857" actId="478"/>
          <ac:spMkLst>
            <pc:docMk/>
            <pc:sldMk cId="3161875100" sldId="364"/>
            <ac:spMk id="18434" creationId="{11736935-09E9-635C-8778-51753FC30A9A}"/>
          </ac:spMkLst>
        </pc:spChg>
        <pc:graphicFrameChg chg="mod">
          <ac:chgData name="JC Montjoy" userId="0e120a3b0f88cb40" providerId="LiveId" clId="{37B0FAD6-8412-42FC-A49F-40C8E6AADFF7}" dt="2026-01-06T22:27:43.369" v="2412"/>
          <ac:graphicFrameMkLst>
            <pc:docMk/>
            <pc:sldMk cId="3161875100" sldId="364"/>
            <ac:graphicFrameMk id="3" creationId="{536D4437-FBFA-A699-F4D1-3C2428BD4884}"/>
          </ac:graphicFrameMkLst>
        </pc:graphicFrameChg>
        <pc:graphicFrameChg chg="add mod modGraphic">
          <ac:chgData name="JC Montjoy" userId="0e120a3b0f88cb40" providerId="LiveId" clId="{37B0FAD6-8412-42FC-A49F-40C8E6AADFF7}" dt="2026-01-06T22:37:34.795" v="2996" actId="20577"/>
          <ac:graphicFrameMkLst>
            <pc:docMk/>
            <pc:sldMk cId="3161875100" sldId="364"/>
            <ac:graphicFrameMk id="27" creationId="{E9A1E357-0E16-3527-327F-29D4D3C228C9}"/>
          </ac:graphicFrameMkLst>
        </pc:graphicFrameChg>
        <pc:picChg chg="del">
          <ac:chgData name="JC Montjoy" userId="0e120a3b0f88cb40" providerId="LiveId" clId="{37B0FAD6-8412-42FC-A49F-40C8E6AADFF7}" dt="2026-01-06T22:26:06.509" v="1857" actId="478"/>
          <ac:picMkLst>
            <pc:docMk/>
            <pc:sldMk cId="3161875100" sldId="364"/>
            <ac:picMk id="4" creationId="{0DD21489-1BB5-D3A5-AF6F-684444790949}"/>
          </ac:picMkLst>
        </pc:picChg>
        <pc:picChg chg="del">
          <ac:chgData name="JC Montjoy" userId="0e120a3b0f88cb40" providerId="LiveId" clId="{37B0FAD6-8412-42FC-A49F-40C8E6AADFF7}" dt="2026-01-06T22:26:06.509" v="1857" actId="478"/>
          <ac:picMkLst>
            <pc:docMk/>
            <pc:sldMk cId="3161875100" sldId="364"/>
            <ac:picMk id="6" creationId="{28FFC58E-22F8-BA1C-8928-F91BFBC4B342}"/>
          </ac:picMkLst>
        </pc:picChg>
      </pc:sldChg>
      <pc:sldChg chg="add del">
        <pc:chgData name="JC Montjoy" userId="0e120a3b0f88cb40" providerId="LiveId" clId="{37B0FAD6-8412-42FC-A49F-40C8E6AADFF7}" dt="2026-01-06T23:21:21.046" v="4026" actId="47"/>
        <pc:sldMkLst>
          <pc:docMk/>
          <pc:sldMk cId="1258105676" sldId="365"/>
        </pc:sldMkLst>
      </pc:sldChg>
      <pc:sldChg chg="modSp add del mod">
        <pc:chgData name="JC Montjoy" userId="0e120a3b0f88cb40" providerId="LiveId" clId="{37B0FAD6-8412-42FC-A49F-40C8E6AADFF7}" dt="2026-01-07T01:03:58.998" v="5401" actId="47"/>
        <pc:sldMkLst>
          <pc:docMk/>
          <pc:sldMk cId="1898106080" sldId="366"/>
        </pc:sldMkLst>
        <pc:spChg chg="mod">
          <ac:chgData name="JC Montjoy" userId="0e120a3b0f88cb40" providerId="LiveId" clId="{37B0FAD6-8412-42FC-A49F-40C8E6AADFF7}" dt="2026-01-06T23:14:16.939" v="3776" actId="6549"/>
          <ac:spMkLst>
            <pc:docMk/>
            <pc:sldMk cId="1898106080" sldId="366"/>
            <ac:spMk id="7169" creationId="{0C16AA9B-9596-3EF6-0359-C1C66094D0FE}"/>
          </ac:spMkLst>
        </pc:spChg>
      </pc:sldChg>
      <pc:sldChg chg="addSp delSp modSp add mod">
        <pc:chgData name="JC Montjoy" userId="0e120a3b0f88cb40" providerId="LiveId" clId="{37B0FAD6-8412-42FC-A49F-40C8E6AADFF7}" dt="2026-01-06T23:46:03.730" v="4385" actId="1076"/>
        <pc:sldMkLst>
          <pc:docMk/>
          <pc:sldMk cId="737836224" sldId="367"/>
        </pc:sldMkLst>
        <pc:spChg chg="add del mod modVis">
          <ac:chgData name="JC Montjoy" userId="0e120a3b0f88cb40" providerId="LiveId" clId="{37B0FAD6-8412-42FC-A49F-40C8E6AADFF7}" dt="2026-01-06T23:19:20.223" v="3978"/>
          <ac:spMkLst>
            <pc:docMk/>
            <pc:sldMk cId="737836224" sldId="367"/>
            <ac:spMk id="2" creationId="{FCDC2D9F-3588-DD4F-F39E-36903ABAA0E3}"/>
          </ac:spMkLst>
        </pc:spChg>
        <pc:spChg chg="add del mod modVis">
          <ac:chgData name="JC Montjoy" userId="0e120a3b0f88cb40" providerId="LiveId" clId="{37B0FAD6-8412-42FC-A49F-40C8E6AADFF7}" dt="2026-01-06T23:19:38.379" v="4015"/>
          <ac:spMkLst>
            <pc:docMk/>
            <pc:sldMk cId="737836224" sldId="367"/>
            <ac:spMk id="4" creationId="{773149CB-C5DB-C93E-AEFB-D6C2D8F685B3}"/>
          </ac:spMkLst>
        </pc:spChg>
        <pc:spChg chg="mod">
          <ac:chgData name="JC Montjoy" userId="0e120a3b0f88cb40" providerId="LiveId" clId="{37B0FAD6-8412-42FC-A49F-40C8E6AADFF7}" dt="2026-01-06T23:19:38.351" v="3994" actId="948"/>
          <ac:spMkLst>
            <pc:docMk/>
            <pc:sldMk cId="737836224" sldId="367"/>
            <ac:spMk id="5" creationId="{1CED6E8A-7E85-C7CF-55AE-4FD7FBD1A179}"/>
          </ac:spMkLst>
        </pc:spChg>
        <pc:spChg chg="add mod">
          <ac:chgData name="JC Montjoy" userId="0e120a3b0f88cb40" providerId="LiveId" clId="{37B0FAD6-8412-42FC-A49F-40C8E6AADFF7}" dt="2026-01-06T23:42:27.804" v="4374" actId="5793"/>
          <ac:spMkLst>
            <pc:docMk/>
            <pc:sldMk cId="737836224" sldId="367"/>
            <ac:spMk id="6" creationId="{D1E49220-9BAD-6E64-5B27-9E3E5E9DDB44}"/>
          </ac:spMkLst>
        </pc:spChg>
        <pc:spChg chg="del">
          <ac:chgData name="JC Montjoy" userId="0e120a3b0f88cb40" providerId="LiveId" clId="{37B0FAD6-8412-42FC-A49F-40C8E6AADFF7}" dt="2026-01-06T23:19:02.224" v="3947" actId="478"/>
          <ac:spMkLst>
            <pc:docMk/>
            <pc:sldMk cId="737836224" sldId="367"/>
            <ac:spMk id="7" creationId="{ACC374DA-BEB4-2438-9ED9-DB157F5EC3F1}"/>
          </ac:spMkLst>
        </pc:spChg>
        <pc:spChg chg="del">
          <ac:chgData name="JC Montjoy" userId="0e120a3b0f88cb40" providerId="LiveId" clId="{37B0FAD6-8412-42FC-A49F-40C8E6AADFF7}" dt="2026-01-06T23:19:02.224" v="3947" actId="478"/>
          <ac:spMkLst>
            <pc:docMk/>
            <pc:sldMk cId="737836224" sldId="367"/>
            <ac:spMk id="38" creationId="{746B35FF-834C-4657-0552-B8E81FC63B71}"/>
          </ac:spMkLst>
        </pc:spChg>
        <pc:spChg chg="del">
          <ac:chgData name="JC Montjoy" userId="0e120a3b0f88cb40" providerId="LiveId" clId="{37B0FAD6-8412-42FC-A49F-40C8E6AADFF7}" dt="2026-01-06T23:19:02.224" v="3947" actId="478"/>
          <ac:spMkLst>
            <pc:docMk/>
            <pc:sldMk cId="737836224" sldId="367"/>
            <ac:spMk id="39" creationId="{95763DCC-30C6-1359-8B4A-6B431A0DB72A}"/>
          </ac:spMkLst>
        </pc:spChg>
        <pc:spChg chg="del">
          <ac:chgData name="JC Montjoy" userId="0e120a3b0f88cb40" providerId="LiveId" clId="{37B0FAD6-8412-42FC-A49F-40C8E6AADFF7}" dt="2026-01-06T23:19:02.224" v="3947" actId="478"/>
          <ac:spMkLst>
            <pc:docMk/>
            <pc:sldMk cId="737836224" sldId="367"/>
            <ac:spMk id="40" creationId="{B9C6455B-708B-8DCB-51B8-52526C449DB2}"/>
          </ac:spMkLst>
        </pc:spChg>
        <pc:spChg chg="del">
          <ac:chgData name="JC Montjoy" userId="0e120a3b0f88cb40" providerId="LiveId" clId="{37B0FAD6-8412-42FC-A49F-40C8E6AADFF7}" dt="2026-01-06T23:19:02.224" v="3947" actId="478"/>
          <ac:spMkLst>
            <pc:docMk/>
            <pc:sldMk cId="737836224" sldId="367"/>
            <ac:spMk id="41" creationId="{BDD216E8-5C0B-28FA-81A0-6DDE57488252}"/>
          </ac:spMkLst>
        </pc:spChg>
        <pc:spChg chg="del">
          <ac:chgData name="JC Montjoy" userId="0e120a3b0f88cb40" providerId="LiveId" clId="{37B0FAD6-8412-42FC-A49F-40C8E6AADFF7}" dt="2026-01-06T23:19:02.224" v="3947" actId="478"/>
          <ac:spMkLst>
            <pc:docMk/>
            <pc:sldMk cId="737836224" sldId="367"/>
            <ac:spMk id="43" creationId="{265F4859-32F1-681F-F341-4AA97C94EACF}"/>
          </ac:spMkLst>
        </pc:spChg>
        <pc:spChg chg="del">
          <ac:chgData name="JC Montjoy" userId="0e120a3b0f88cb40" providerId="LiveId" clId="{37B0FAD6-8412-42FC-A49F-40C8E6AADFF7}" dt="2026-01-06T23:19:02.224" v="3947" actId="478"/>
          <ac:spMkLst>
            <pc:docMk/>
            <pc:sldMk cId="737836224" sldId="367"/>
            <ac:spMk id="44" creationId="{CB947032-6CEB-F18F-7EAB-1B9DB044AB04}"/>
          </ac:spMkLst>
        </pc:spChg>
        <pc:spChg chg="del">
          <ac:chgData name="JC Montjoy" userId="0e120a3b0f88cb40" providerId="LiveId" clId="{37B0FAD6-8412-42FC-A49F-40C8E6AADFF7}" dt="2026-01-06T23:19:02.224" v="3947" actId="478"/>
          <ac:spMkLst>
            <pc:docMk/>
            <pc:sldMk cId="737836224" sldId="367"/>
            <ac:spMk id="45" creationId="{328FC16D-2C0D-35A7-27C2-2C68ABEFB390}"/>
          </ac:spMkLst>
        </pc:spChg>
        <pc:spChg chg="del">
          <ac:chgData name="JC Montjoy" userId="0e120a3b0f88cb40" providerId="LiveId" clId="{37B0FAD6-8412-42FC-A49F-40C8E6AADFF7}" dt="2026-01-06T23:19:04.517" v="3948" actId="478"/>
          <ac:spMkLst>
            <pc:docMk/>
            <pc:sldMk cId="737836224" sldId="367"/>
            <ac:spMk id="14338" creationId="{AD506E5D-980F-1706-40FB-6833ADB45140}"/>
          </ac:spMkLst>
        </pc:spChg>
        <pc:graphicFrameChg chg="mod">
          <ac:chgData name="JC Montjoy" userId="0e120a3b0f88cb40" providerId="LiveId" clId="{37B0FAD6-8412-42FC-A49F-40C8E6AADFF7}" dt="2026-01-06T23:19:38.381" v="4017"/>
          <ac:graphicFrameMkLst>
            <pc:docMk/>
            <pc:sldMk cId="737836224" sldId="367"/>
            <ac:graphicFrameMk id="3" creationId="{740D7919-219D-92B9-91EB-336777BAAAAA}"/>
          </ac:graphicFrameMkLst>
        </pc:graphicFrameChg>
        <pc:picChg chg="add del mod">
          <ac:chgData name="JC Montjoy" userId="0e120a3b0f88cb40" providerId="LiveId" clId="{37B0FAD6-8412-42FC-A49F-40C8E6AADFF7}" dt="2026-01-06T23:42:18.895" v="4367" actId="478"/>
          <ac:picMkLst>
            <pc:docMk/>
            <pc:sldMk cId="737836224" sldId="367"/>
            <ac:picMk id="8" creationId="{4F4FB347-A0F9-2D1D-9AAD-1500FBEC6277}"/>
          </ac:picMkLst>
        </pc:picChg>
        <pc:picChg chg="del">
          <ac:chgData name="JC Montjoy" userId="0e120a3b0f88cb40" providerId="LiveId" clId="{37B0FAD6-8412-42FC-A49F-40C8E6AADFF7}" dt="2026-01-06T23:19:14.759" v="3949" actId="478"/>
          <ac:picMkLst>
            <pc:docMk/>
            <pc:sldMk cId="737836224" sldId="367"/>
            <ac:picMk id="1038" creationId="{CFAC8E49-98A3-2AC4-1A95-BA3135FD0484}"/>
          </ac:picMkLst>
        </pc:picChg>
        <pc:picChg chg="add mod">
          <ac:chgData name="JC Montjoy" userId="0e120a3b0f88cb40" providerId="LiveId" clId="{37B0FAD6-8412-42FC-A49F-40C8E6AADFF7}" dt="2026-01-06T23:42:43.946" v="4376" actId="1076"/>
          <ac:picMkLst>
            <pc:docMk/>
            <pc:sldMk cId="737836224" sldId="367"/>
            <ac:picMk id="7170" creationId="{65818231-7C3F-0E10-CB57-0AED85CC0167}"/>
          </ac:picMkLst>
        </pc:picChg>
        <pc:picChg chg="add del mod">
          <ac:chgData name="JC Montjoy" userId="0e120a3b0f88cb40" providerId="LiveId" clId="{37B0FAD6-8412-42FC-A49F-40C8E6AADFF7}" dt="2026-01-06T23:45:21.459" v="4382" actId="478"/>
          <ac:picMkLst>
            <pc:docMk/>
            <pc:sldMk cId="737836224" sldId="367"/>
            <ac:picMk id="7172" creationId="{FCFB63F5-99A2-9976-7604-4C08751B59C4}"/>
          </ac:picMkLst>
        </pc:picChg>
        <pc:picChg chg="add mod">
          <ac:chgData name="JC Montjoy" userId="0e120a3b0f88cb40" providerId="LiveId" clId="{37B0FAD6-8412-42FC-A49F-40C8E6AADFF7}" dt="2026-01-06T23:46:03.730" v="4385" actId="1076"/>
          <ac:picMkLst>
            <pc:docMk/>
            <pc:sldMk cId="737836224" sldId="367"/>
            <ac:picMk id="7174" creationId="{74FEF99F-AA11-6CD7-73DF-99F6AAD65832}"/>
          </ac:picMkLst>
        </pc:picChg>
      </pc:sldChg>
      <pc:sldChg chg="addSp delSp modSp add mod">
        <pc:chgData name="JC Montjoy" userId="0e120a3b0f88cb40" providerId="LiveId" clId="{37B0FAD6-8412-42FC-A49F-40C8E6AADFF7}" dt="2026-01-07T01:06:03.668" v="5408" actId="1076"/>
        <pc:sldMkLst>
          <pc:docMk/>
          <pc:sldMk cId="3518975887" sldId="368"/>
        </pc:sldMkLst>
        <pc:spChg chg="add del mod modVis">
          <ac:chgData name="JC Montjoy" userId="0e120a3b0f88cb40" providerId="LiveId" clId="{37B0FAD6-8412-42FC-A49F-40C8E6AADFF7}" dt="2026-01-07T00:25:36.392" v="4415"/>
          <ac:spMkLst>
            <pc:docMk/>
            <pc:sldMk cId="3518975887" sldId="368"/>
            <ac:spMk id="2" creationId="{AE7803D5-00B3-365D-8F54-D4078026100E}"/>
          </ac:spMkLst>
        </pc:spChg>
        <pc:spChg chg="add del mod modVis">
          <ac:chgData name="JC Montjoy" userId="0e120a3b0f88cb40" providerId="LiveId" clId="{37B0FAD6-8412-42FC-A49F-40C8E6AADFF7}" dt="2026-01-07T00:25:37.385" v="4443"/>
          <ac:spMkLst>
            <pc:docMk/>
            <pc:sldMk cId="3518975887" sldId="368"/>
            <ac:spMk id="3" creationId="{0589459D-4407-8873-3F58-6EA80E79360B}"/>
          </ac:spMkLst>
        </pc:spChg>
        <pc:spChg chg="add del mod modVis">
          <ac:chgData name="JC Montjoy" userId="0e120a3b0f88cb40" providerId="LiveId" clId="{37B0FAD6-8412-42FC-A49F-40C8E6AADFF7}" dt="2026-01-07T00:25:38.417" v="4469"/>
          <ac:spMkLst>
            <pc:docMk/>
            <pc:sldMk cId="3518975887" sldId="368"/>
            <ac:spMk id="4" creationId="{D9F99E3D-C928-4159-FAEE-B4D12DD62005}"/>
          </ac:spMkLst>
        </pc:spChg>
        <pc:spChg chg="mod">
          <ac:chgData name="JC Montjoy" userId="0e120a3b0f88cb40" providerId="LiveId" clId="{37B0FAD6-8412-42FC-A49F-40C8E6AADFF7}" dt="2026-01-07T00:26:18.027" v="4542" actId="1076"/>
          <ac:spMkLst>
            <pc:docMk/>
            <pc:sldMk cId="3518975887" sldId="368"/>
            <ac:spMk id="5" creationId="{3387B1EC-8E6F-2A68-97EC-A3B678BE9CCA}"/>
          </ac:spMkLst>
        </pc:spChg>
        <pc:spChg chg="add del mod modVis">
          <ac:chgData name="JC Montjoy" userId="0e120a3b0f88cb40" providerId="LiveId" clId="{37B0FAD6-8412-42FC-A49F-40C8E6AADFF7}" dt="2026-01-07T00:25:42.062" v="4497"/>
          <ac:spMkLst>
            <pc:docMk/>
            <pc:sldMk cId="3518975887" sldId="368"/>
            <ac:spMk id="7" creationId="{9CAD5947-AA73-DE7B-FA29-0BDB41925681}"/>
          </ac:spMkLst>
        </pc:spChg>
        <pc:spChg chg="del">
          <ac:chgData name="JC Montjoy" userId="0e120a3b0f88cb40" providerId="LiveId" clId="{37B0FAD6-8412-42FC-A49F-40C8E6AADFF7}" dt="2026-01-07T00:25:46.034" v="4500" actId="478"/>
          <ac:spMkLst>
            <pc:docMk/>
            <pc:sldMk cId="3518975887" sldId="368"/>
            <ac:spMk id="8" creationId="{A1E9897B-320F-4BE5-7365-505E3C4C1253}"/>
          </ac:spMkLst>
        </pc:spChg>
        <pc:spChg chg="add del mod">
          <ac:chgData name="JC Montjoy" userId="0e120a3b0f88cb40" providerId="LiveId" clId="{37B0FAD6-8412-42FC-A49F-40C8E6AADFF7}" dt="2026-01-07T00:38:12.676" v="4595" actId="478"/>
          <ac:spMkLst>
            <pc:docMk/>
            <pc:sldMk cId="3518975887" sldId="368"/>
            <ac:spMk id="9" creationId="{0C337016-5E38-B5AD-7A3B-B3D99FFD95B3}"/>
          </ac:spMkLst>
        </pc:spChg>
        <pc:spChg chg="add del mod">
          <ac:chgData name="JC Montjoy" userId="0e120a3b0f88cb40" providerId="LiveId" clId="{37B0FAD6-8412-42FC-A49F-40C8E6AADFF7}" dt="2026-01-07T00:28:48.916" v="4573" actId="478"/>
          <ac:spMkLst>
            <pc:docMk/>
            <pc:sldMk cId="3518975887" sldId="368"/>
            <ac:spMk id="10" creationId="{9B806511-11B5-BB26-1B50-13001A3725F8}"/>
          </ac:spMkLst>
        </pc:spChg>
        <pc:spChg chg="add del mod modVis">
          <ac:chgData name="JC Montjoy" userId="0e120a3b0f88cb40" providerId="LiveId" clId="{37B0FAD6-8412-42FC-A49F-40C8E6AADFF7}" dt="2026-01-07T00:26:18.027" v="4540" actId="962"/>
          <ac:spMkLst>
            <pc:docMk/>
            <pc:sldMk cId="3518975887" sldId="368"/>
            <ac:spMk id="11" creationId="{B49EF377-81CF-A374-7AD7-ECC76D06759B}"/>
          </ac:spMkLst>
        </pc:spChg>
        <pc:spChg chg="add del mod">
          <ac:chgData name="JC Montjoy" userId="0e120a3b0f88cb40" providerId="LiveId" clId="{37B0FAD6-8412-42FC-A49F-40C8E6AADFF7}" dt="2026-01-07T00:28:51.929" v="4574" actId="478"/>
          <ac:spMkLst>
            <pc:docMk/>
            <pc:sldMk cId="3518975887" sldId="368"/>
            <ac:spMk id="13" creationId="{381F0E67-5523-FDFE-64F3-63828004361B}"/>
          </ac:spMkLst>
        </pc:spChg>
        <pc:spChg chg="add del mod">
          <ac:chgData name="JC Montjoy" userId="0e120a3b0f88cb40" providerId="LiveId" clId="{37B0FAD6-8412-42FC-A49F-40C8E6AADFF7}" dt="2026-01-07T00:38:11.099" v="4594" actId="478"/>
          <ac:spMkLst>
            <pc:docMk/>
            <pc:sldMk cId="3518975887" sldId="368"/>
            <ac:spMk id="14" creationId="{E9F4DA9C-D448-38EF-0767-7A08AC4CB888}"/>
          </ac:spMkLst>
        </pc:spChg>
        <pc:spChg chg="add mod">
          <ac:chgData name="JC Montjoy" userId="0e120a3b0f88cb40" providerId="LiveId" clId="{37B0FAD6-8412-42FC-A49F-40C8E6AADFF7}" dt="2026-01-07T00:51:17.132" v="5153" actId="6549"/>
          <ac:spMkLst>
            <pc:docMk/>
            <pc:sldMk cId="3518975887" sldId="368"/>
            <ac:spMk id="15" creationId="{8647A3CE-3EB1-E25B-C5CE-FA20F756F03C}"/>
          </ac:spMkLst>
        </pc:spChg>
        <pc:spChg chg="add del mod">
          <ac:chgData name="JC Montjoy" userId="0e120a3b0f88cb40" providerId="LiveId" clId="{37B0FAD6-8412-42FC-A49F-40C8E6AADFF7}" dt="2026-01-07T00:39:09.341" v="4690" actId="478"/>
          <ac:spMkLst>
            <pc:docMk/>
            <pc:sldMk cId="3518975887" sldId="368"/>
            <ac:spMk id="16" creationId="{930052FD-5783-9300-C5B1-28A28E77BEC6}"/>
          </ac:spMkLst>
        </pc:spChg>
        <pc:spChg chg="add del mod">
          <ac:chgData name="JC Montjoy" userId="0e120a3b0f88cb40" providerId="LiveId" clId="{37B0FAD6-8412-42FC-A49F-40C8E6AADFF7}" dt="2026-01-07T00:39:11.737" v="4691" actId="478"/>
          <ac:spMkLst>
            <pc:docMk/>
            <pc:sldMk cId="3518975887" sldId="368"/>
            <ac:spMk id="18" creationId="{223FA556-AA38-2762-0AE5-285E96CFA216}"/>
          </ac:spMkLst>
        </pc:spChg>
        <pc:spChg chg="del">
          <ac:chgData name="JC Montjoy" userId="0e120a3b0f88cb40" providerId="LiveId" clId="{37B0FAD6-8412-42FC-A49F-40C8E6AADFF7}" dt="2026-01-07T00:25:46.034" v="4500" actId="478"/>
          <ac:spMkLst>
            <pc:docMk/>
            <pc:sldMk cId="3518975887" sldId="368"/>
            <ac:spMk id="15362" creationId="{D4B7CB7C-2C18-9CEE-64B8-BA4B030F67CA}"/>
          </ac:spMkLst>
        </pc:spChg>
        <pc:graphicFrameChg chg="mod">
          <ac:chgData name="JC Montjoy" userId="0e120a3b0f88cb40" providerId="LiveId" clId="{37B0FAD6-8412-42FC-A49F-40C8E6AADFF7}" dt="2026-01-07T00:26:18.068" v="4544"/>
          <ac:graphicFrameMkLst>
            <pc:docMk/>
            <pc:sldMk cId="3518975887" sldId="368"/>
            <ac:graphicFrameMk id="6" creationId="{0E9A9DF6-F8B7-685F-D86F-AA694DDCE3D7}"/>
          </ac:graphicFrameMkLst>
        </pc:graphicFrameChg>
        <pc:picChg chg="add mod">
          <ac:chgData name="JC Montjoy" userId="0e120a3b0f88cb40" providerId="LiveId" clId="{37B0FAD6-8412-42FC-A49F-40C8E6AADFF7}" dt="2026-01-07T01:06:03.668" v="5408" actId="1076"/>
          <ac:picMkLst>
            <pc:docMk/>
            <pc:sldMk cId="3518975887" sldId="368"/>
            <ac:picMk id="1030" creationId="{DC8D4734-C8C5-BE96-CF03-D9290AA3B7FC}"/>
          </ac:picMkLst>
        </pc:picChg>
        <pc:picChg chg="del">
          <ac:chgData name="JC Montjoy" userId="0e120a3b0f88cb40" providerId="LiveId" clId="{37B0FAD6-8412-42FC-A49F-40C8E6AADFF7}" dt="2026-01-07T00:25:46.034" v="4500" actId="478"/>
          <ac:picMkLst>
            <pc:docMk/>
            <pc:sldMk cId="3518975887" sldId="368"/>
            <ac:picMk id="4098" creationId="{4038FA37-FB7B-D263-EF66-CEE12740F420}"/>
          </ac:picMkLst>
        </pc:picChg>
      </pc:sldChg>
      <pc:sldChg chg="addSp delSp modSp add mod">
        <pc:chgData name="JC Montjoy" userId="0e120a3b0f88cb40" providerId="LiveId" clId="{37B0FAD6-8412-42FC-A49F-40C8E6AADFF7}" dt="2026-01-07T00:46:32.395" v="4989" actId="1076"/>
        <pc:sldMkLst>
          <pc:docMk/>
          <pc:sldMk cId="1798014204" sldId="369"/>
        </pc:sldMkLst>
        <pc:spChg chg="add mod">
          <ac:chgData name="JC Montjoy" userId="0e120a3b0f88cb40" providerId="LiveId" clId="{37B0FAD6-8412-42FC-A49F-40C8E6AADFF7}" dt="2026-01-07T00:46:32.395" v="4989" actId="1076"/>
          <ac:spMkLst>
            <pc:docMk/>
            <pc:sldMk cId="1798014204" sldId="369"/>
            <ac:spMk id="2" creationId="{EBEE4BB7-D675-5357-E673-D2DF718C0E35}"/>
          </ac:spMkLst>
        </pc:spChg>
        <pc:spChg chg="add del mod">
          <ac:chgData name="JC Montjoy" userId="0e120a3b0f88cb40" providerId="LiveId" clId="{37B0FAD6-8412-42FC-A49F-40C8E6AADFF7}" dt="2026-01-07T00:43:08.461" v="4742" actId="478"/>
          <ac:spMkLst>
            <pc:docMk/>
            <pc:sldMk cId="1798014204" sldId="369"/>
            <ac:spMk id="3" creationId="{04C836FE-0D1A-13DC-123E-5A286293378E}"/>
          </ac:spMkLst>
        </pc:spChg>
        <pc:spChg chg="add del mod">
          <ac:chgData name="JC Montjoy" userId="0e120a3b0f88cb40" providerId="LiveId" clId="{37B0FAD6-8412-42FC-A49F-40C8E6AADFF7}" dt="2026-01-07T00:45:48.194" v="4957" actId="948"/>
          <ac:spMkLst>
            <pc:docMk/>
            <pc:sldMk cId="1798014204" sldId="369"/>
            <ac:spMk id="5" creationId="{6BE9670F-C057-A045-3CC1-97E9CC037C97}"/>
          </ac:spMkLst>
        </pc:spChg>
        <pc:spChg chg="add del mod">
          <ac:chgData name="JC Montjoy" userId="0e120a3b0f88cb40" providerId="LiveId" clId="{37B0FAD6-8412-42FC-A49F-40C8E6AADFF7}" dt="2026-01-07T00:43:10.857" v="4743" actId="478"/>
          <ac:spMkLst>
            <pc:docMk/>
            <pc:sldMk cId="1798014204" sldId="369"/>
            <ac:spMk id="7" creationId="{21993F6C-FFE0-3568-DEAB-A23CD075CAE1}"/>
          </ac:spMkLst>
        </pc:spChg>
        <pc:spChg chg="add del mod">
          <ac:chgData name="JC Montjoy" userId="0e120a3b0f88cb40" providerId="LiveId" clId="{37B0FAD6-8412-42FC-A49F-40C8E6AADFF7}" dt="2026-01-07T00:45:30.422" v="4782" actId="478"/>
          <ac:spMkLst>
            <pc:docMk/>
            <pc:sldMk cId="1798014204" sldId="369"/>
            <ac:spMk id="9" creationId="{0DF429E5-572E-5DF6-7467-A4C95E0A6C34}"/>
          </ac:spMkLst>
        </pc:spChg>
        <pc:spChg chg="add del mod modVis">
          <ac:chgData name="JC Montjoy" userId="0e120a3b0f88cb40" providerId="LiveId" clId="{37B0FAD6-8412-42FC-A49F-40C8E6AADFF7}" dt="2026-01-07T00:45:38.890" v="4849"/>
          <ac:spMkLst>
            <pc:docMk/>
            <pc:sldMk cId="1798014204" sldId="369"/>
            <ac:spMk id="10" creationId="{6389E6EE-C722-237F-1374-605F9BACE98A}"/>
          </ac:spMkLst>
        </pc:spChg>
        <pc:spChg chg="add del mod modVis">
          <ac:chgData name="JC Montjoy" userId="0e120a3b0f88cb40" providerId="LiveId" clId="{37B0FAD6-8412-42FC-A49F-40C8E6AADFF7}" dt="2026-01-07T00:45:40.070" v="4875"/>
          <ac:spMkLst>
            <pc:docMk/>
            <pc:sldMk cId="1798014204" sldId="369"/>
            <ac:spMk id="11" creationId="{3B17F88A-881E-DDC4-FA16-10DA65DEDF5D}"/>
          </ac:spMkLst>
        </pc:spChg>
        <pc:spChg chg="add del mod modVis">
          <ac:chgData name="JC Montjoy" userId="0e120a3b0f88cb40" providerId="LiveId" clId="{37B0FAD6-8412-42FC-A49F-40C8E6AADFF7}" dt="2026-01-07T00:45:43.623" v="4918"/>
          <ac:spMkLst>
            <pc:docMk/>
            <pc:sldMk cId="1798014204" sldId="369"/>
            <ac:spMk id="12" creationId="{F898A8F5-5CA4-C117-61AF-4F38DF7CCD5B}"/>
          </ac:spMkLst>
        </pc:spChg>
        <pc:spChg chg="add del mod modVis">
          <ac:chgData name="JC Montjoy" userId="0e120a3b0f88cb40" providerId="LiveId" clId="{37B0FAD6-8412-42FC-A49F-40C8E6AADFF7}" dt="2026-01-07T00:45:45.496" v="4952"/>
          <ac:spMkLst>
            <pc:docMk/>
            <pc:sldMk cId="1798014204" sldId="369"/>
            <ac:spMk id="13" creationId="{4DFFEB48-5E04-8407-C77B-FFB99A07D6F1}"/>
          </ac:spMkLst>
        </pc:spChg>
        <pc:spChg chg="add del mod modVis">
          <ac:chgData name="JC Montjoy" userId="0e120a3b0f88cb40" providerId="LiveId" clId="{37B0FAD6-8412-42FC-A49F-40C8E6AADFF7}" dt="2026-01-07T00:45:48.247" v="4978"/>
          <ac:spMkLst>
            <pc:docMk/>
            <pc:sldMk cId="1798014204" sldId="369"/>
            <ac:spMk id="14" creationId="{4706407F-9B8A-B1C6-5339-C150398326F5}"/>
          </ac:spMkLst>
        </pc:spChg>
        <pc:spChg chg="del">
          <ac:chgData name="JC Montjoy" userId="0e120a3b0f88cb40" providerId="LiveId" clId="{37B0FAD6-8412-42FC-A49F-40C8E6AADFF7}" dt="2026-01-07T00:40:02.130" v="4698" actId="478"/>
          <ac:spMkLst>
            <pc:docMk/>
            <pc:sldMk cId="1798014204" sldId="369"/>
            <ac:spMk id="15" creationId="{FB067613-2757-E184-682B-6E69C119B644}"/>
          </ac:spMkLst>
        </pc:spChg>
        <pc:graphicFrameChg chg="mod">
          <ac:chgData name="JC Montjoy" userId="0e120a3b0f88cb40" providerId="LiveId" clId="{37B0FAD6-8412-42FC-A49F-40C8E6AADFF7}" dt="2026-01-07T00:45:48.252" v="4980"/>
          <ac:graphicFrameMkLst>
            <pc:docMk/>
            <pc:sldMk cId="1798014204" sldId="369"/>
            <ac:graphicFrameMk id="6" creationId="{F44B4B74-2CF5-FAEA-2C7D-38BEC36DF9FD}"/>
          </ac:graphicFrameMkLst>
        </pc:graphicFrameChg>
      </pc:sldChg>
      <pc:sldChg chg="addSp delSp modSp add del mod">
        <pc:chgData name="JC Montjoy" userId="0e120a3b0f88cb40" providerId="LiveId" clId="{37B0FAD6-8412-42FC-A49F-40C8E6AADFF7}" dt="2026-01-07T00:28:31.358" v="4570" actId="47"/>
        <pc:sldMkLst>
          <pc:docMk/>
          <pc:sldMk cId="3441643087" sldId="369"/>
        </pc:sldMkLst>
        <pc:spChg chg="add del mod">
          <ac:chgData name="JC Montjoy" userId="0e120a3b0f88cb40" providerId="LiveId" clId="{37B0FAD6-8412-42FC-A49F-40C8E6AADFF7}" dt="2026-01-07T00:27:09.112" v="4560" actId="478"/>
          <ac:spMkLst>
            <pc:docMk/>
            <pc:sldMk cId="3441643087" sldId="369"/>
            <ac:spMk id="3" creationId="{A92BC64D-A76C-064A-7ADC-F25C9F4A43E4}"/>
          </ac:spMkLst>
        </pc:spChg>
        <pc:spChg chg="del">
          <ac:chgData name="JC Montjoy" userId="0e120a3b0f88cb40" providerId="LiveId" clId="{37B0FAD6-8412-42FC-A49F-40C8E6AADFF7}" dt="2026-01-07T00:27:06.666" v="4557" actId="478"/>
          <ac:spMkLst>
            <pc:docMk/>
            <pc:sldMk cId="3441643087" sldId="369"/>
            <ac:spMk id="5" creationId="{F9892C2A-FD0B-8FC6-160D-806AA68B9338}"/>
          </ac:spMkLst>
        </pc:spChg>
        <pc:spChg chg="add del mod">
          <ac:chgData name="JC Montjoy" userId="0e120a3b0f88cb40" providerId="LiveId" clId="{37B0FAD6-8412-42FC-A49F-40C8E6AADFF7}" dt="2026-01-07T00:28:20.109" v="4568" actId="478"/>
          <ac:spMkLst>
            <pc:docMk/>
            <pc:sldMk cId="3441643087" sldId="369"/>
            <ac:spMk id="7" creationId="{FE7C3794-681F-14BF-8611-5BA18B5E1783}"/>
          </ac:spMkLst>
        </pc:spChg>
        <pc:spChg chg="del">
          <ac:chgData name="JC Montjoy" userId="0e120a3b0f88cb40" providerId="LiveId" clId="{37B0FAD6-8412-42FC-A49F-40C8E6AADFF7}" dt="2026-01-07T00:28:18.639" v="4567" actId="478"/>
          <ac:spMkLst>
            <pc:docMk/>
            <pc:sldMk cId="3441643087" sldId="369"/>
            <ac:spMk id="9" creationId="{6F86312F-CA64-221A-1170-47B26469659B}"/>
          </ac:spMkLst>
        </pc:spChg>
        <pc:spChg chg="del">
          <ac:chgData name="JC Montjoy" userId="0e120a3b0f88cb40" providerId="LiveId" clId="{37B0FAD6-8412-42FC-A49F-40C8E6AADFF7}" dt="2026-01-07T00:28:16.345" v="4566" actId="478"/>
          <ac:spMkLst>
            <pc:docMk/>
            <pc:sldMk cId="3441643087" sldId="369"/>
            <ac:spMk id="10" creationId="{925A176D-E400-88F9-2B18-0D099D18CB12}"/>
          </ac:spMkLst>
        </pc:spChg>
        <pc:graphicFrameChg chg="mod">
          <ac:chgData name="JC Montjoy" userId="0e120a3b0f88cb40" providerId="LiveId" clId="{37B0FAD6-8412-42FC-A49F-40C8E6AADFF7}" dt="2026-01-07T00:27:09.639" v="4562"/>
          <ac:graphicFrameMkLst>
            <pc:docMk/>
            <pc:sldMk cId="3441643087" sldId="369"/>
            <ac:graphicFrameMk id="6" creationId="{CEAF0476-BDC3-E8AD-58D3-C77717BCCBC0}"/>
          </ac:graphicFrameMkLst>
        </pc:graphicFrameChg>
      </pc:sldChg>
      <pc:sldChg chg="add del mod modShow">
        <pc:chgData name="JC Montjoy" userId="0e120a3b0f88cb40" providerId="LiveId" clId="{37B0FAD6-8412-42FC-A49F-40C8E6AADFF7}" dt="2026-01-07T00:27:42.149" v="4565" actId="47"/>
        <pc:sldMkLst>
          <pc:docMk/>
          <pc:sldMk cId="3334593546" sldId="370"/>
        </pc:sldMkLst>
      </pc:sldChg>
      <pc:sldChg chg="addSp delSp modSp add mod">
        <pc:chgData name="JC Montjoy" userId="0e120a3b0f88cb40" providerId="LiveId" clId="{37B0FAD6-8412-42FC-A49F-40C8E6AADFF7}" dt="2026-01-07T00:49:37.815" v="5090" actId="20577"/>
        <pc:sldMkLst>
          <pc:docMk/>
          <pc:sldMk cId="3785469534" sldId="370"/>
        </pc:sldMkLst>
        <pc:spChg chg="mod">
          <ac:chgData name="JC Montjoy" userId="0e120a3b0f88cb40" providerId="LiveId" clId="{37B0FAD6-8412-42FC-A49F-40C8E6AADFF7}" dt="2026-01-07T00:49:37.815" v="5090" actId="20577"/>
          <ac:spMkLst>
            <pc:docMk/>
            <pc:sldMk cId="3785469534" sldId="370"/>
            <ac:spMk id="2" creationId="{8D4765C6-F1B9-38A2-A11D-CE76C2A47F98}"/>
          </ac:spMkLst>
        </pc:spChg>
        <pc:spChg chg="add del mod modVis">
          <ac:chgData name="JC Montjoy" userId="0e120a3b0f88cb40" providerId="LiveId" clId="{37B0FAD6-8412-42FC-A49F-40C8E6AADFF7}" dt="2026-01-07T00:47:57.734" v="5024"/>
          <ac:spMkLst>
            <pc:docMk/>
            <pc:sldMk cId="3785469534" sldId="370"/>
            <ac:spMk id="3" creationId="{F7DD2F26-87D0-FE30-D61C-EFEE04A45186}"/>
          </ac:spMkLst>
        </pc:spChg>
        <pc:spChg chg="mod">
          <ac:chgData name="JC Montjoy" userId="0e120a3b0f88cb40" providerId="LiveId" clId="{37B0FAD6-8412-42FC-A49F-40C8E6AADFF7}" dt="2026-01-07T00:47:57.696" v="5003" actId="948"/>
          <ac:spMkLst>
            <pc:docMk/>
            <pc:sldMk cId="3785469534" sldId="370"/>
            <ac:spMk id="5" creationId="{B5065F52-32FE-54F7-BF4D-A0AAE3829409}"/>
          </ac:spMkLst>
        </pc:spChg>
        <pc:graphicFrameChg chg="mod">
          <ac:chgData name="JC Montjoy" userId="0e120a3b0f88cb40" providerId="LiveId" clId="{37B0FAD6-8412-42FC-A49F-40C8E6AADFF7}" dt="2026-01-07T00:47:57.736" v="5026"/>
          <ac:graphicFrameMkLst>
            <pc:docMk/>
            <pc:sldMk cId="3785469534" sldId="370"/>
            <ac:graphicFrameMk id="6" creationId="{146325B8-9363-CA22-3960-98281101F75E}"/>
          </ac:graphicFrameMkLst>
        </pc:graphicFrameChg>
      </pc:sldChg>
      <pc:sldChg chg="addSp modSp new del mod">
        <pc:chgData name="JC Montjoy" userId="0e120a3b0f88cb40" providerId="LiveId" clId="{37B0FAD6-8412-42FC-A49F-40C8E6AADFF7}" dt="2026-01-07T00:38:06.065" v="4593" actId="47"/>
        <pc:sldMkLst>
          <pc:docMk/>
          <pc:sldMk cId="3794925998" sldId="370"/>
        </pc:sldMkLst>
        <pc:spChg chg="add mod">
          <ac:chgData name="JC Montjoy" userId="0e120a3b0f88cb40" providerId="LiveId" clId="{37B0FAD6-8412-42FC-A49F-40C8E6AADFF7}" dt="2026-01-07T00:28:43.769" v="4572" actId="1076"/>
          <ac:spMkLst>
            <pc:docMk/>
            <pc:sldMk cId="3794925998" sldId="370"/>
            <ac:spMk id="2" creationId="{5019EBC7-BFE1-C2D0-2CC2-A2165D2D1553}"/>
          </ac:spMkLst>
        </pc:spChg>
        <pc:spChg chg="add mod">
          <ac:chgData name="JC Montjoy" userId="0e120a3b0f88cb40" providerId="LiveId" clId="{37B0FAD6-8412-42FC-A49F-40C8E6AADFF7}" dt="2026-01-07T00:28:43.769" v="4572" actId="1076"/>
          <ac:spMkLst>
            <pc:docMk/>
            <pc:sldMk cId="3794925998" sldId="370"/>
            <ac:spMk id="3" creationId="{CCB61B04-D551-FC40-CFEB-7597A5746A60}"/>
          </ac:spMkLst>
        </pc:spChg>
        <pc:spChg chg="add mod">
          <ac:chgData name="JC Montjoy" userId="0e120a3b0f88cb40" providerId="LiveId" clId="{37B0FAD6-8412-42FC-A49F-40C8E6AADFF7}" dt="2026-01-07T00:30:20.077" v="4589" actId="14100"/>
          <ac:spMkLst>
            <pc:docMk/>
            <pc:sldMk cId="3794925998" sldId="370"/>
            <ac:spMk id="4" creationId="{69E663DF-ADA2-F17E-D850-B2A4A4C08AB6}"/>
          </ac:spMkLst>
        </pc:spChg>
        <pc:spChg chg="add mod">
          <ac:chgData name="JC Montjoy" userId="0e120a3b0f88cb40" providerId="LiveId" clId="{37B0FAD6-8412-42FC-A49F-40C8E6AADFF7}" dt="2026-01-07T00:31:11.081" v="4590" actId="1076"/>
          <ac:spMkLst>
            <pc:docMk/>
            <pc:sldMk cId="3794925998" sldId="370"/>
            <ac:spMk id="5" creationId="{78865256-707A-892C-48C4-4CEADEF4D9B7}"/>
          </ac:spMkLst>
        </pc:spChg>
      </pc:sldChg>
      <pc:sldChg chg="addSp delSp modSp add mod">
        <pc:chgData name="JC Montjoy" userId="0e120a3b0f88cb40" providerId="LiveId" clId="{37B0FAD6-8412-42FC-A49F-40C8E6AADFF7}" dt="2026-01-07T01:07:06.613" v="5411" actId="1076"/>
        <pc:sldMkLst>
          <pc:docMk/>
          <pc:sldMk cId="3852200253" sldId="371"/>
        </pc:sldMkLst>
        <pc:spChg chg="mod">
          <ac:chgData name="JC Montjoy" userId="0e120a3b0f88cb40" providerId="LiveId" clId="{37B0FAD6-8412-42FC-A49F-40C8E6AADFF7}" dt="2026-01-07T00:54:10.787" v="5237" actId="1076"/>
          <ac:spMkLst>
            <pc:docMk/>
            <pc:sldMk cId="3852200253" sldId="371"/>
            <ac:spMk id="2" creationId="{9FBCFBE6-7087-C152-3795-6A40B35C23B8}"/>
          </ac:spMkLst>
        </pc:spChg>
        <pc:spChg chg="add del mod modVis">
          <ac:chgData name="JC Montjoy" userId="0e120a3b0f88cb40" providerId="LiveId" clId="{37B0FAD6-8412-42FC-A49F-40C8E6AADFF7}" dt="2026-01-07T00:49:52.275" v="5115"/>
          <ac:spMkLst>
            <pc:docMk/>
            <pc:sldMk cId="3852200253" sldId="371"/>
            <ac:spMk id="3" creationId="{E1F1EDB8-B9B2-7933-4DB5-90DEB519C371}"/>
          </ac:spMkLst>
        </pc:spChg>
        <pc:spChg chg="mod">
          <ac:chgData name="JC Montjoy" userId="0e120a3b0f88cb40" providerId="LiveId" clId="{37B0FAD6-8412-42FC-A49F-40C8E6AADFF7}" dt="2026-01-07T00:49:52.236" v="5094" actId="948"/>
          <ac:spMkLst>
            <pc:docMk/>
            <pc:sldMk cId="3852200253" sldId="371"/>
            <ac:spMk id="5" creationId="{E30BA56D-FF82-E838-6D4D-5F30440A0AC6}"/>
          </ac:spMkLst>
        </pc:spChg>
        <pc:graphicFrameChg chg="mod">
          <ac:chgData name="JC Montjoy" userId="0e120a3b0f88cb40" providerId="LiveId" clId="{37B0FAD6-8412-42FC-A49F-40C8E6AADFF7}" dt="2026-01-07T00:49:52.280" v="5117"/>
          <ac:graphicFrameMkLst>
            <pc:docMk/>
            <pc:sldMk cId="3852200253" sldId="371"/>
            <ac:graphicFrameMk id="6" creationId="{FFFE6F89-5656-F4BC-BD60-C7B1E3442925}"/>
          </ac:graphicFrameMkLst>
        </pc:graphicFrameChg>
        <pc:picChg chg="add mod">
          <ac:chgData name="JC Montjoy" userId="0e120a3b0f88cb40" providerId="LiveId" clId="{37B0FAD6-8412-42FC-A49F-40C8E6AADFF7}" dt="2026-01-07T01:07:06.613" v="5411" actId="1076"/>
          <ac:picMkLst>
            <pc:docMk/>
            <pc:sldMk cId="3852200253" sldId="371"/>
            <ac:picMk id="1032" creationId="{70FC5EB9-E5EA-C3C6-ECC9-91AF06DF7458}"/>
          </ac:picMkLst>
        </pc:picChg>
      </pc:sldChg>
      <pc:sldMasterChg chg="addSp delSp modSp mod">
        <pc:chgData name="JC Montjoy" userId="0e120a3b0f88cb40" providerId="LiveId" clId="{37B0FAD6-8412-42FC-A49F-40C8E6AADFF7}" dt="2026-01-06T13:37:09.855" v="122"/>
        <pc:sldMasterMkLst>
          <pc:docMk/>
          <pc:sldMasterMk cId="62148999" sldId="2147484327"/>
        </pc:sldMasterMkLst>
        <pc:spChg chg="mod">
          <ac:chgData name="JC Montjoy" userId="0e120a3b0f88cb40" providerId="LiveId" clId="{37B0FAD6-8412-42FC-A49F-40C8E6AADFF7}" dt="2026-01-06T13:37:09.606" v="73" actId="948"/>
          <ac:spMkLst>
            <pc:docMk/>
            <pc:sldMasterMk cId="62148999" sldId="2147484327"/>
            <ac:spMk id="2" creationId="{00000000-0000-0000-0000-000000000000}"/>
          </ac:spMkLst>
        </pc:spChg>
        <pc:spChg chg="add del mod modVis">
          <ac:chgData name="JC Montjoy" userId="0e120a3b0f88cb40" providerId="LiveId" clId="{37B0FAD6-8412-42FC-A49F-40C8E6AADFF7}" dt="2026-01-06T13:37:09.793" v="108"/>
          <ac:spMkLst>
            <pc:docMk/>
            <pc:sldMasterMk cId="62148999" sldId="2147484327"/>
            <ac:spMk id="8" creationId="{A3AC552D-4639-CE92-0640-843F837661B4}"/>
          </ac:spMkLst>
        </pc:spChg>
        <pc:graphicFrameChg chg="add mod ord modVis">
          <ac:chgData name="JC Montjoy" userId="0e120a3b0f88cb40" providerId="LiveId" clId="{37B0FAD6-8412-42FC-A49F-40C8E6AADFF7}" dt="2026-01-06T13:37:09.855" v="122"/>
          <ac:graphicFrameMkLst>
            <pc:docMk/>
            <pc:sldMasterMk cId="62148999" sldId="2147484327"/>
            <ac:graphicFrameMk id="9" creationId="{BBE2F302-4822-A77D-3CDB-99F9A16B8ED2}"/>
          </ac:graphicFrameMkLst>
        </pc:graphicFrameChg>
      </pc:sldMasterChg>
    </pc:docChg>
  </pc:docChgLst>
  <pc:docChgLst>
    <pc:chgData name="JC Montjoy" userId="0e120a3b0f88cb40" providerId="LiveId" clId="{5A12A05B-506A-404C-8B38-C384BFE19C58}"/>
    <pc:docChg chg="undo custSel addSld modSld">
      <pc:chgData name="JC Montjoy" userId="0e120a3b0f88cb40" providerId="LiveId" clId="{5A12A05B-506A-404C-8B38-C384BFE19C58}" dt="2026-01-07T22:39:57.058" v="1071" actId="14100"/>
      <pc:docMkLst>
        <pc:docMk/>
      </pc:docMkLst>
      <pc:sldChg chg="modSp mod">
        <pc:chgData name="JC Montjoy" userId="0e120a3b0f88cb40" providerId="LiveId" clId="{5A12A05B-506A-404C-8B38-C384BFE19C58}" dt="2026-01-07T16:45:38.619" v="151" actId="20577"/>
        <pc:sldMkLst>
          <pc:docMk/>
          <pc:sldMk cId="1546771385" sldId="257"/>
        </pc:sldMkLst>
        <pc:spChg chg="mod">
          <ac:chgData name="JC Montjoy" userId="0e120a3b0f88cb40" providerId="LiveId" clId="{5A12A05B-506A-404C-8B38-C384BFE19C58}" dt="2026-01-07T16:45:38.619" v="151" actId="20577"/>
          <ac:spMkLst>
            <pc:docMk/>
            <pc:sldMk cId="1546771385" sldId="257"/>
            <ac:spMk id="3" creationId="{00000000-0000-0000-0000-000000000000}"/>
          </ac:spMkLst>
        </pc:spChg>
      </pc:sldChg>
      <pc:sldChg chg="addSp delSp modSp">
        <pc:chgData name="JC Montjoy" userId="0e120a3b0f88cb40" providerId="LiveId" clId="{5A12A05B-506A-404C-8B38-C384BFE19C58}" dt="2026-01-07T22:38:10.203" v="1015" actId="14100"/>
        <pc:sldMkLst>
          <pc:docMk/>
          <pc:sldMk cId="0" sldId="260"/>
        </pc:sldMkLst>
        <pc:picChg chg="del">
          <ac:chgData name="JC Montjoy" userId="0e120a3b0f88cb40" providerId="LiveId" clId="{5A12A05B-506A-404C-8B38-C384BFE19C58}" dt="2026-01-07T21:04:15.703" v="875" actId="21"/>
          <ac:picMkLst>
            <pc:docMk/>
            <pc:sldMk cId="0" sldId="260"/>
            <ac:picMk id="1034" creationId="{7FA26614-D903-F211-17B8-0305C66172FD}"/>
          </ac:picMkLst>
        </pc:picChg>
        <pc:picChg chg="add mod">
          <ac:chgData name="JC Montjoy" userId="0e120a3b0f88cb40" providerId="LiveId" clId="{5A12A05B-506A-404C-8B38-C384BFE19C58}" dt="2026-01-07T22:38:10.203" v="1015" actId="14100"/>
          <ac:picMkLst>
            <pc:docMk/>
            <pc:sldMk cId="0" sldId="260"/>
            <ac:picMk id="2050" creationId="{93C152C5-BBD8-BF38-2E1A-E767C0A4F2F8}"/>
          </ac:picMkLst>
        </pc:picChg>
      </pc:sldChg>
      <pc:sldChg chg="addSp modSp mod">
        <pc:chgData name="JC Montjoy" userId="0e120a3b0f88cb40" providerId="LiveId" clId="{5A12A05B-506A-404C-8B38-C384BFE19C58}" dt="2026-01-07T22:31:26.557" v="951" actId="403"/>
        <pc:sldMkLst>
          <pc:docMk/>
          <pc:sldMk cId="1893416625" sldId="280"/>
        </pc:sldMkLst>
        <pc:spChg chg="mod">
          <ac:chgData name="JC Montjoy" userId="0e120a3b0f88cb40" providerId="LiveId" clId="{5A12A05B-506A-404C-8B38-C384BFE19C58}" dt="2026-01-07T22:31:26.557" v="951" actId="403"/>
          <ac:spMkLst>
            <pc:docMk/>
            <pc:sldMk cId="1893416625" sldId="280"/>
            <ac:spMk id="3" creationId="{5A3ECE30-CF8E-FC4D-5E68-9CBFF85AAF88}"/>
          </ac:spMkLst>
        </pc:spChg>
        <pc:picChg chg="add mod">
          <ac:chgData name="JC Montjoy" userId="0e120a3b0f88cb40" providerId="LiveId" clId="{5A12A05B-506A-404C-8B38-C384BFE19C58}" dt="2026-01-07T22:25:07.686" v="915" actId="1076"/>
          <ac:picMkLst>
            <pc:docMk/>
            <pc:sldMk cId="1893416625" sldId="280"/>
            <ac:picMk id="1026" creationId="{C1FDB8FC-9C0A-03D3-2B81-81A51A59AC17}"/>
          </ac:picMkLst>
        </pc:picChg>
      </pc:sldChg>
      <pc:sldChg chg="addSp delSp modSp mod">
        <pc:chgData name="JC Montjoy" userId="0e120a3b0f88cb40" providerId="LiveId" clId="{5A12A05B-506A-404C-8B38-C384BFE19C58}" dt="2026-01-07T22:29:47.348" v="941" actId="1076"/>
        <pc:sldMkLst>
          <pc:docMk/>
          <pc:sldMk cId="0" sldId="281"/>
        </pc:sldMkLst>
        <pc:spChg chg="add mod">
          <ac:chgData name="JC Montjoy" userId="0e120a3b0f88cb40" providerId="LiveId" clId="{5A12A05B-506A-404C-8B38-C384BFE19C58}" dt="2026-01-07T22:29:39.592" v="938" actId="255"/>
          <ac:spMkLst>
            <pc:docMk/>
            <pc:sldMk cId="0" sldId="281"/>
            <ac:spMk id="2" creationId="{523894EA-25CC-ADE5-3D38-14DFA197C080}"/>
          </ac:spMkLst>
        </pc:spChg>
        <pc:spChg chg="mod">
          <ac:chgData name="JC Montjoy" userId="0e120a3b0f88cb40" providerId="LiveId" clId="{5A12A05B-506A-404C-8B38-C384BFE19C58}" dt="2026-01-07T16:45:28.988" v="135" actId="20577"/>
          <ac:spMkLst>
            <pc:docMk/>
            <pc:sldMk cId="0" sldId="281"/>
            <ac:spMk id="5" creationId="{00000000-0000-0000-0000-000000000000}"/>
          </ac:spMkLst>
        </pc:spChg>
        <pc:spChg chg="del mod">
          <ac:chgData name="JC Montjoy" userId="0e120a3b0f88cb40" providerId="LiveId" clId="{5A12A05B-506A-404C-8B38-C384BFE19C58}" dt="2026-01-07T16:47:04.209" v="157" actId="478"/>
          <ac:spMkLst>
            <pc:docMk/>
            <pc:sldMk cId="0" sldId="281"/>
            <ac:spMk id="14338" creationId="{00000000-0000-0000-0000-000000000000}"/>
          </ac:spMkLst>
        </pc:spChg>
        <pc:picChg chg="add mod">
          <ac:chgData name="JC Montjoy" userId="0e120a3b0f88cb40" providerId="LiveId" clId="{5A12A05B-506A-404C-8B38-C384BFE19C58}" dt="2026-01-07T22:29:47.348" v="941" actId="1076"/>
          <ac:picMkLst>
            <pc:docMk/>
            <pc:sldMk cId="0" sldId="281"/>
            <ac:picMk id="4" creationId="{ED8143EE-9CF9-C307-D41E-3F81587934D1}"/>
          </ac:picMkLst>
        </pc:picChg>
      </pc:sldChg>
      <pc:sldChg chg="modSp mod">
        <pc:chgData name="JC Montjoy" userId="0e120a3b0f88cb40" providerId="LiveId" clId="{5A12A05B-506A-404C-8B38-C384BFE19C58}" dt="2026-01-07T22:30:58.402" v="947" actId="113"/>
        <pc:sldMkLst>
          <pc:docMk/>
          <pc:sldMk cId="0" sldId="284"/>
        </pc:sldMkLst>
        <pc:spChg chg="mod">
          <ac:chgData name="JC Montjoy" userId="0e120a3b0f88cb40" providerId="LiveId" clId="{5A12A05B-506A-404C-8B38-C384BFE19C58}" dt="2026-01-07T22:30:58.402" v="947" actId="113"/>
          <ac:spMkLst>
            <pc:docMk/>
            <pc:sldMk cId="0" sldId="284"/>
            <ac:spMk id="8" creationId="{5818B4CB-0A7E-6491-E32F-0C6950C06B13}"/>
          </ac:spMkLst>
        </pc:spChg>
      </pc:sldChg>
      <pc:sldChg chg="modSp mod">
        <pc:chgData name="JC Montjoy" userId="0e120a3b0f88cb40" providerId="LiveId" clId="{5A12A05B-506A-404C-8B38-C384BFE19C58}" dt="2026-01-07T22:37:13.436" v="1011" actId="113"/>
        <pc:sldMkLst>
          <pc:docMk/>
          <pc:sldMk cId="2498890062" sldId="289"/>
        </pc:sldMkLst>
        <pc:spChg chg="mod">
          <ac:chgData name="JC Montjoy" userId="0e120a3b0f88cb40" providerId="LiveId" clId="{5A12A05B-506A-404C-8B38-C384BFE19C58}" dt="2026-01-07T22:37:13.436" v="1011" actId="113"/>
          <ac:spMkLst>
            <pc:docMk/>
            <pc:sldMk cId="2498890062" sldId="289"/>
            <ac:spMk id="31746" creationId="{00000000-0000-0000-0000-000000000000}"/>
          </ac:spMkLst>
        </pc:spChg>
      </pc:sldChg>
      <pc:sldChg chg="modSp mod">
        <pc:chgData name="JC Montjoy" userId="0e120a3b0f88cb40" providerId="LiveId" clId="{5A12A05B-506A-404C-8B38-C384BFE19C58}" dt="2026-01-07T22:30:34.315" v="945" actId="14100"/>
        <pc:sldMkLst>
          <pc:docMk/>
          <pc:sldMk cId="999394214" sldId="290"/>
        </pc:sldMkLst>
        <pc:spChg chg="mod">
          <ac:chgData name="JC Montjoy" userId="0e120a3b0f88cb40" providerId="LiveId" clId="{5A12A05B-506A-404C-8B38-C384BFE19C58}" dt="2026-01-07T22:30:13.259" v="943" actId="403"/>
          <ac:spMkLst>
            <pc:docMk/>
            <pc:sldMk cId="999394214" sldId="290"/>
            <ac:spMk id="18434" creationId="{00000000-0000-0000-0000-000000000000}"/>
          </ac:spMkLst>
        </pc:spChg>
        <pc:picChg chg="mod">
          <ac:chgData name="JC Montjoy" userId="0e120a3b0f88cb40" providerId="LiveId" clId="{5A12A05B-506A-404C-8B38-C384BFE19C58}" dt="2026-01-07T22:30:34.315" v="945" actId="14100"/>
          <ac:picMkLst>
            <pc:docMk/>
            <pc:sldMk cId="999394214" sldId="290"/>
            <ac:picMk id="2" creationId="{6EBBC0D8-2E7F-AF0A-531B-B33B3022FC9E}"/>
          </ac:picMkLst>
        </pc:picChg>
      </pc:sldChg>
      <pc:sldChg chg="modSp mod">
        <pc:chgData name="JC Montjoy" userId="0e120a3b0f88cb40" providerId="LiveId" clId="{5A12A05B-506A-404C-8B38-C384BFE19C58}" dt="2026-01-07T22:32:04.044" v="977" actId="403"/>
        <pc:sldMkLst>
          <pc:docMk/>
          <pc:sldMk cId="3696744338" sldId="292"/>
        </pc:sldMkLst>
        <pc:spChg chg="mod">
          <ac:chgData name="JC Montjoy" userId="0e120a3b0f88cb40" providerId="LiveId" clId="{5A12A05B-506A-404C-8B38-C384BFE19C58}" dt="2026-01-07T22:32:04.044" v="977" actId="403"/>
          <ac:spMkLst>
            <pc:docMk/>
            <pc:sldMk cId="3696744338" sldId="292"/>
            <ac:spMk id="19458" creationId="{00000000-0000-0000-0000-000000000000}"/>
          </ac:spMkLst>
        </pc:spChg>
      </pc:sldChg>
      <pc:sldChg chg="modSp mod">
        <pc:chgData name="JC Montjoy" userId="0e120a3b0f88cb40" providerId="LiveId" clId="{5A12A05B-506A-404C-8B38-C384BFE19C58}" dt="2026-01-07T22:29:31.650" v="937" actId="255"/>
        <pc:sldMkLst>
          <pc:docMk/>
          <pc:sldMk cId="1265200752" sldId="295"/>
        </pc:sldMkLst>
        <pc:spChg chg="mod">
          <ac:chgData name="JC Montjoy" userId="0e120a3b0f88cb40" providerId="LiveId" clId="{5A12A05B-506A-404C-8B38-C384BFE19C58}" dt="2026-01-07T22:29:31.650" v="937" actId="255"/>
          <ac:spMkLst>
            <pc:docMk/>
            <pc:sldMk cId="1265200752" sldId="295"/>
            <ac:spMk id="4" creationId="{00000000-0000-0000-0000-000000000000}"/>
          </ac:spMkLst>
        </pc:spChg>
      </pc:sldChg>
      <pc:sldChg chg="modSp mod">
        <pc:chgData name="JC Montjoy" userId="0e120a3b0f88cb40" providerId="LiveId" clId="{5A12A05B-506A-404C-8B38-C384BFE19C58}" dt="2026-01-07T22:16:29.745" v="909" actId="20577"/>
        <pc:sldMkLst>
          <pc:docMk/>
          <pc:sldMk cId="2702601445" sldId="297"/>
        </pc:sldMkLst>
        <pc:spChg chg="mod">
          <ac:chgData name="JC Montjoy" userId="0e120a3b0f88cb40" providerId="LiveId" clId="{5A12A05B-506A-404C-8B38-C384BFE19C58}" dt="2026-01-07T22:16:29.745" v="909" actId="20577"/>
          <ac:spMkLst>
            <pc:docMk/>
            <pc:sldMk cId="2702601445" sldId="297"/>
            <ac:spMk id="4" creationId="{00000000-0000-0000-0000-000000000000}"/>
          </ac:spMkLst>
        </pc:spChg>
        <pc:picChg chg="mod">
          <ac:chgData name="JC Montjoy" userId="0e120a3b0f88cb40" providerId="LiveId" clId="{5A12A05B-506A-404C-8B38-C384BFE19C58}" dt="2026-01-07T22:15:20.080" v="888" actId="1076"/>
          <ac:picMkLst>
            <pc:docMk/>
            <pc:sldMk cId="2702601445" sldId="297"/>
            <ac:picMk id="2" creationId="{00000000-0000-0000-0000-000000000000}"/>
          </ac:picMkLst>
        </pc:picChg>
      </pc:sldChg>
      <pc:sldChg chg="modSp mod">
        <pc:chgData name="JC Montjoy" userId="0e120a3b0f88cb40" providerId="LiveId" clId="{5A12A05B-506A-404C-8B38-C384BFE19C58}" dt="2026-01-07T22:31:14.601" v="949" actId="1076"/>
        <pc:sldMkLst>
          <pc:docMk/>
          <pc:sldMk cId="2547914925" sldId="301"/>
        </pc:sldMkLst>
        <pc:spChg chg="mod">
          <ac:chgData name="JC Montjoy" userId="0e120a3b0f88cb40" providerId="LiveId" clId="{5A12A05B-506A-404C-8B38-C384BFE19C58}" dt="2026-01-07T22:31:14.601" v="949" actId="1076"/>
          <ac:spMkLst>
            <pc:docMk/>
            <pc:sldMk cId="2547914925" sldId="301"/>
            <ac:spMk id="7" creationId="{00000000-0000-0000-0000-000000000000}"/>
          </ac:spMkLst>
        </pc:spChg>
        <pc:spChg chg="mod">
          <ac:chgData name="JC Montjoy" userId="0e120a3b0f88cb40" providerId="LiveId" clId="{5A12A05B-506A-404C-8B38-C384BFE19C58}" dt="2026-01-07T22:31:14.601" v="949" actId="1076"/>
          <ac:spMkLst>
            <pc:docMk/>
            <pc:sldMk cId="2547914925" sldId="301"/>
            <ac:spMk id="38" creationId="{00000000-0000-0000-0000-000000000000}"/>
          </ac:spMkLst>
        </pc:spChg>
        <pc:spChg chg="mod">
          <ac:chgData name="JC Montjoy" userId="0e120a3b0f88cb40" providerId="LiveId" clId="{5A12A05B-506A-404C-8B38-C384BFE19C58}" dt="2026-01-07T22:31:14.601" v="949" actId="1076"/>
          <ac:spMkLst>
            <pc:docMk/>
            <pc:sldMk cId="2547914925" sldId="301"/>
            <ac:spMk id="39" creationId="{00000000-0000-0000-0000-000000000000}"/>
          </ac:spMkLst>
        </pc:spChg>
        <pc:spChg chg="mod">
          <ac:chgData name="JC Montjoy" userId="0e120a3b0f88cb40" providerId="LiveId" clId="{5A12A05B-506A-404C-8B38-C384BFE19C58}" dt="2026-01-07T22:31:14.601" v="949" actId="1076"/>
          <ac:spMkLst>
            <pc:docMk/>
            <pc:sldMk cId="2547914925" sldId="301"/>
            <ac:spMk id="40" creationId="{00000000-0000-0000-0000-000000000000}"/>
          </ac:spMkLst>
        </pc:spChg>
        <pc:spChg chg="mod">
          <ac:chgData name="JC Montjoy" userId="0e120a3b0f88cb40" providerId="LiveId" clId="{5A12A05B-506A-404C-8B38-C384BFE19C58}" dt="2026-01-07T22:31:14.601" v="949" actId="1076"/>
          <ac:spMkLst>
            <pc:docMk/>
            <pc:sldMk cId="2547914925" sldId="301"/>
            <ac:spMk id="41" creationId="{00000000-0000-0000-0000-000000000000}"/>
          </ac:spMkLst>
        </pc:spChg>
        <pc:spChg chg="mod">
          <ac:chgData name="JC Montjoy" userId="0e120a3b0f88cb40" providerId="LiveId" clId="{5A12A05B-506A-404C-8B38-C384BFE19C58}" dt="2026-01-07T22:31:14.601" v="949" actId="1076"/>
          <ac:spMkLst>
            <pc:docMk/>
            <pc:sldMk cId="2547914925" sldId="301"/>
            <ac:spMk id="43" creationId="{00000000-0000-0000-0000-000000000000}"/>
          </ac:spMkLst>
        </pc:spChg>
        <pc:spChg chg="mod">
          <ac:chgData name="JC Montjoy" userId="0e120a3b0f88cb40" providerId="LiveId" clId="{5A12A05B-506A-404C-8B38-C384BFE19C58}" dt="2026-01-07T22:31:14.601" v="949" actId="1076"/>
          <ac:spMkLst>
            <pc:docMk/>
            <pc:sldMk cId="2547914925" sldId="301"/>
            <ac:spMk id="44" creationId="{00000000-0000-0000-0000-000000000000}"/>
          </ac:spMkLst>
        </pc:spChg>
        <pc:spChg chg="mod">
          <ac:chgData name="JC Montjoy" userId="0e120a3b0f88cb40" providerId="LiveId" clId="{5A12A05B-506A-404C-8B38-C384BFE19C58}" dt="2026-01-07T22:31:14.601" v="949" actId="1076"/>
          <ac:spMkLst>
            <pc:docMk/>
            <pc:sldMk cId="2547914925" sldId="301"/>
            <ac:spMk id="45" creationId="{00000000-0000-0000-0000-000000000000}"/>
          </ac:spMkLst>
        </pc:spChg>
        <pc:spChg chg="mod">
          <ac:chgData name="JC Montjoy" userId="0e120a3b0f88cb40" providerId="LiveId" clId="{5A12A05B-506A-404C-8B38-C384BFE19C58}" dt="2026-01-07T22:31:09.094" v="948" actId="403"/>
          <ac:spMkLst>
            <pc:docMk/>
            <pc:sldMk cId="2547914925" sldId="301"/>
            <ac:spMk id="14338" creationId="{00000000-0000-0000-0000-000000000000}"/>
          </ac:spMkLst>
        </pc:spChg>
      </pc:sldChg>
      <pc:sldChg chg="modSp mod">
        <pc:chgData name="JC Montjoy" userId="0e120a3b0f88cb40" providerId="LiveId" clId="{5A12A05B-506A-404C-8B38-C384BFE19C58}" dt="2026-01-07T22:39:57.058" v="1071" actId="14100"/>
        <pc:sldMkLst>
          <pc:docMk/>
          <pc:sldMk cId="3738930622" sldId="303"/>
        </pc:sldMkLst>
        <pc:spChg chg="mod">
          <ac:chgData name="JC Montjoy" userId="0e120a3b0f88cb40" providerId="LiveId" clId="{5A12A05B-506A-404C-8B38-C384BFE19C58}" dt="2026-01-07T22:39:49.991" v="1069" actId="5793"/>
          <ac:spMkLst>
            <pc:docMk/>
            <pc:sldMk cId="3738930622" sldId="303"/>
            <ac:spMk id="5" creationId="{B28944D9-1C34-6DE5-4900-89229D4CAABF}"/>
          </ac:spMkLst>
        </pc:spChg>
        <pc:picChg chg="mod">
          <ac:chgData name="JC Montjoy" userId="0e120a3b0f88cb40" providerId="LiveId" clId="{5A12A05B-506A-404C-8B38-C384BFE19C58}" dt="2026-01-07T22:39:57.058" v="1071" actId="14100"/>
          <ac:picMkLst>
            <pc:docMk/>
            <pc:sldMk cId="3738930622" sldId="303"/>
            <ac:picMk id="2" creationId="{00000000-0000-0000-0000-000000000000}"/>
          </ac:picMkLst>
        </pc:picChg>
      </pc:sldChg>
      <pc:sldChg chg="delSp">
        <pc:chgData name="JC Montjoy" userId="0e120a3b0f88cb40" providerId="LiveId" clId="{5A12A05B-506A-404C-8B38-C384BFE19C58}" dt="2026-01-07T16:52:08.647" v="874" actId="478"/>
        <pc:sldMkLst>
          <pc:docMk/>
          <pc:sldMk cId="903944107" sldId="333"/>
        </pc:sldMkLst>
        <pc:picChg chg="del">
          <ac:chgData name="JC Montjoy" userId="0e120a3b0f88cb40" providerId="LiveId" clId="{5A12A05B-506A-404C-8B38-C384BFE19C58}" dt="2026-01-07T16:52:04.039" v="873" actId="478"/>
          <ac:picMkLst>
            <pc:docMk/>
            <pc:sldMk cId="903944107" sldId="333"/>
            <ac:picMk id="1036" creationId="{11425FD6-4194-473E-4DE6-6AE1EEA602B7}"/>
          </ac:picMkLst>
        </pc:picChg>
        <pc:picChg chg="del">
          <ac:chgData name="JC Montjoy" userId="0e120a3b0f88cb40" providerId="LiveId" clId="{5A12A05B-506A-404C-8B38-C384BFE19C58}" dt="2026-01-07T16:52:08.647" v="874" actId="478"/>
          <ac:picMkLst>
            <pc:docMk/>
            <pc:sldMk cId="903944107" sldId="333"/>
            <ac:picMk id="6146" creationId="{65336A76-9E64-EA31-5B60-02931B1B7D0A}"/>
          </ac:picMkLst>
        </pc:picChg>
      </pc:sldChg>
      <pc:sldChg chg="modSp mod">
        <pc:chgData name="JC Montjoy" userId="0e120a3b0f88cb40" providerId="LiveId" clId="{5A12A05B-506A-404C-8B38-C384BFE19C58}" dt="2026-01-07T22:30:45.524" v="946" actId="113"/>
        <pc:sldMkLst>
          <pc:docMk/>
          <pc:sldMk cId="3696409542" sldId="363"/>
        </pc:sldMkLst>
        <pc:spChg chg="mod">
          <ac:chgData name="JC Montjoy" userId="0e120a3b0f88cb40" providerId="LiveId" clId="{5A12A05B-506A-404C-8B38-C384BFE19C58}" dt="2026-01-07T22:30:45.524" v="946" actId="113"/>
          <ac:spMkLst>
            <pc:docMk/>
            <pc:sldMk cId="3696409542" sldId="363"/>
            <ac:spMk id="18434" creationId="{3FD9AE47-84A7-5FAA-950C-9A48AD082F32}"/>
          </ac:spMkLst>
        </pc:spChg>
      </pc:sldChg>
      <pc:sldChg chg="addSp delSp modSp mod">
        <pc:chgData name="JC Montjoy" userId="0e120a3b0f88cb40" providerId="LiveId" clId="{5A12A05B-506A-404C-8B38-C384BFE19C58}" dt="2026-01-07T22:31:56.848" v="976" actId="1035"/>
        <pc:sldMkLst>
          <pc:docMk/>
          <pc:sldMk cId="737836224" sldId="367"/>
        </pc:sldMkLst>
        <pc:spChg chg="mod">
          <ac:chgData name="JC Montjoy" userId="0e120a3b0f88cb40" providerId="LiveId" clId="{5A12A05B-506A-404C-8B38-C384BFE19C58}" dt="2026-01-07T22:31:47.207" v="970" actId="255"/>
          <ac:spMkLst>
            <pc:docMk/>
            <pc:sldMk cId="737836224" sldId="367"/>
            <ac:spMk id="6" creationId="{D1E49220-9BAD-6E64-5B27-9E3E5E9DDB44}"/>
          </ac:spMkLst>
        </pc:spChg>
        <pc:picChg chg="add del mod">
          <ac:chgData name="JC Montjoy" userId="0e120a3b0f88cb40" providerId="LiveId" clId="{5A12A05B-506A-404C-8B38-C384BFE19C58}" dt="2026-01-07T22:27:44.093" v="923" actId="478"/>
          <ac:picMkLst>
            <pc:docMk/>
            <pc:sldMk cId="737836224" sldId="367"/>
            <ac:picMk id="2" creationId="{514B9BE4-EAAF-1D89-4CE9-A987A2F1DBC2}"/>
          </ac:picMkLst>
        </pc:picChg>
        <pc:picChg chg="add mod">
          <ac:chgData name="JC Montjoy" userId="0e120a3b0f88cb40" providerId="LiveId" clId="{5A12A05B-506A-404C-8B38-C384BFE19C58}" dt="2026-01-07T22:31:56.848" v="976" actId="1035"/>
          <ac:picMkLst>
            <pc:docMk/>
            <pc:sldMk cId="737836224" sldId="367"/>
            <ac:picMk id="4" creationId="{BDAD12CD-8C6C-3D42-79EF-41A630C98383}"/>
          </ac:picMkLst>
        </pc:picChg>
        <pc:picChg chg="mod">
          <ac:chgData name="JC Montjoy" userId="0e120a3b0f88cb40" providerId="LiveId" clId="{5A12A05B-506A-404C-8B38-C384BFE19C58}" dt="2026-01-07T22:31:53.448" v="974" actId="1036"/>
          <ac:picMkLst>
            <pc:docMk/>
            <pc:sldMk cId="737836224" sldId="367"/>
            <ac:picMk id="7170" creationId="{65818231-7C3F-0E10-CB57-0AED85CC0167}"/>
          </ac:picMkLst>
        </pc:picChg>
        <pc:picChg chg="mod">
          <ac:chgData name="JC Montjoy" userId="0e120a3b0f88cb40" providerId="LiveId" clId="{5A12A05B-506A-404C-8B38-C384BFE19C58}" dt="2026-01-07T22:27:36.768" v="920" actId="1076"/>
          <ac:picMkLst>
            <pc:docMk/>
            <pc:sldMk cId="737836224" sldId="367"/>
            <ac:picMk id="7174" creationId="{74FEF99F-AA11-6CD7-73DF-99F6AAD65832}"/>
          </ac:picMkLst>
        </pc:picChg>
      </pc:sldChg>
      <pc:sldChg chg="modSp mod">
        <pc:chgData name="JC Montjoy" userId="0e120a3b0f88cb40" providerId="LiveId" clId="{5A12A05B-506A-404C-8B38-C384BFE19C58}" dt="2026-01-07T22:32:36.673" v="983" actId="12"/>
        <pc:sldMkLst>
          <pc:docMk/>
          <pc:sldMk cId="3518975887" sldId="368"/>
        </pc:sldMkLst>
        <pc:spChg chg="mod">
          <ac:chgData name="JC Montjoy" userId="0e120a3b0f88cb40" providerId="LiveId" clId="{5A12A05B-506A-404C-8B38-C384BFE19C58}" dt="2026-01-07T22:32:36.673" v="983" actId="12"/>
          <ac:spMkLst>
            <pc:docMk/>
            <pc:sldMk cId="3518975887" sldId="368"/>
            <ac:spMk id="15" creationId="{8647A3CE-3EB1-E25B-C5CE-FA20F756F03C}"/>
          </ac:spMkLst>
        </pc:spChg>
      </pc:sldChg>
      <pc:sldChg chg="addSp modSp mod">
        <pc:chgData name="JC Montjoy" userId="0e120a3b0f88cb40" providerId="LiveId" clId="{5A12A05B-506A-404C-8B38-C384BFE19C58}" dt="2026-01-07T22:36:10.885" v="1004" actId="1076"/>
        <pc:sldMkLst>
          <pc:docMk/>
          <pc:sldMk cId="1798014204" sldId="369"/>
        </pc:sldMkLst>
        <pc:spChg chg="mod">
          <ac:chgData name="JC Montjoy" userId="0e120a3b0f88cb40" providerId="LiveId" clId="{5A12A05B-506A-404C-8B38-C384BFE19C58}" dt="2026-01-07T22:32:57.533" v="985" actId="1076"/>
          <ac:spMkLst>
            <pc:docMk/>
            <pc:sldMk cId="1798014204" sldId="369"/>
            <ac:spMk id="2" creationId="{EBEE4BB7-D675-5357-E673-D2DF718C0E35}"/>
          </ac:spMkLst>
        </pc:spChg>
        <pc:picChg chg="add mod">
          <ac:chgData name="JC Montjoy" userId="0e120a3b0f88cb40" providerId="LiveId" clId="{5A12A05B-506A-404C-8B38-C384BFE19C58}" dt="2026-01-07T22:36:10.885" v="1004" actId="1076"/>
          <ac:picMkLst>
            <pc:docMk/>
            <pc:sldMk cId="1798014204" sldId="369"/>
            <ac:picMk id="3" creationId="{8020E22E-3D7D-146A-AC5F-5D282C0A4A5B}"/>
          </ac:picMkLst>
        </pc:picChg>
      </pc:sldChg>
      <pc:sldChg chg="addSp modSp mod">
        <pc:chgData name="JC Montjoy" userId="0e120a3b0f88cb40" providerId="LiveId" clId="{5A12A05B-506A-404C-8B38-C384BFE19C58}" dt="2026-01-07T22:35:26.129" v="1002"/>
        <pc:sldMkLst>
          <pc:docMk/>
          <pc:sldMk cId="3785469534" sldId="370"/>
        </pc:sldMkLst>
        <pc:spChg chg="mod">
          <ac:chgData name="JC Montjoy" userId="0e120a3b0f88cb40" providerId="LiveId" clId="{5A12A05B-506A-404C-8B38-C384BFE19C58}" dt="2026-01-07T22:34:36.178" v="996" actId="20577"/>
          <ac:spMkLst>
            <pc:docMk/>
            <pc:sldMk cId="3785469534" sldId="370"/>
            <ac:spMk id="2" creationId="{8D4765C6-F1B9-38A2-A11D-CE76C2A47F98}"/>
          </ac:spMkLst>
        </pc:spChg>
        <pc:picChg chg="add mod">
          <ac:chgData name="JC Montjoy" userId="0e120a3b0f88cb40" providerId="LiveId" clId="{5A12A05B-506A-404C-8B38-C384BFE19C58}" dt="2026-01-07T22:35:26.129" v="1002"/>
          <ac:picMkLst>
            <pc:docMk/>
            <pc:sldMk cId="3785469534" sldId="370"/>
            <ac:picMk id="3" creationId="{362F3D73-460A-0AC6-8537-BC49939A214D}"/>
          </ac:picMkLst>
        </pc:picChg>
      </pc:sldChg>
      <pc:sldChg chg="addSp delSp modSp mod">
        <pc:chgData name="JC Montjoy" userId="0e120a3b0f88cb40" providerId="LiveId" clId="{5A12A05B-506A-404C-8B38-C384BFE19C58}" dt="2026-01-07T22:36:51.888" v="1006" actId="1076"/>
        <pc:sldMkLst>
          <pc:docMk/>
          <pc:sldMk cId="3852200253" sldId="371"/>
        </pc:sldMkLst>
        <pc:spChg chg="mod">
          <ac:chgData name="JC Montjoy" userId="0e120a3b0f88cb40" providerId="LiveId" clId="{5A12A05B-506A-404C-8B38-C384BFE19C58}" dt="2026-01-07T22:34:53.650" v="1000" actId="1076"/>
          <ac:spMkLst>
            <pc:docMk/>
            <pc:sldMk cId="3852200253" sldId="371"/>
            <ac:spMk id="2" creationId="{9FBCFBE6-7087-C152-3795-6A40B35C23B8}"/>
          </ac:spMkLst>
        </pc:spChg>
        <pc:picChg chg="add mod">
          <ac:chgData name="JC Montjoy" userId="0e120a3b0f88cb40" providerId="LiveId" clId="{5A12A05B-506A-404C-8B38-C384BFE19C58}" dt="2026-01-07T22:36:51.888" v="1006" actId="1076"/>
          <ac:picMkLst>
            <pc:docMk/>
            <pc:sldMk cId="3852200253" sldId="371"/>
            <ac:picMk id="3" creationId="{973AA44A-3382-E7AA-62DB-CFAF850A57BF}"/>
          </ac:picMkLst>
        </pc:picChg>
        <pc:picChg chg="del">
          <ac:chgData name="JC Montjoy" userId="0e120a3b0f88cb40" providerId="LiveId" clId="{5A12A05B-506A-404C-8B38-C384BFE19C58}" dt="2026-01-07T22:35:23.487" v="1001" actId="21"/>
          <ac:picMkLst>
            <pc:docMk/>
            <pc:sldMk cId="3852200253" sldId="371"/>
            <ac:picMk id="1032" creationId="{70FC5EB9-E5EA-C3C6-ECC9-91AF06DF7458}"/>
          </ac:picMkLst>
        </pc:picChg>
      </pc:sldChg>
      <pc:sldChg chg="modSp add mod">
        <pc:chgData name="JC Montjoy" userId="0e120a3b0f88cb40" providerId="LiveId" clId="{5A12A05B-506A-404C-8B38-C384BFE19C58}" dt="2026-01-07T22:29:54.378" v="942" actId="403"/>
        <pc:sldMkLst>
          <pc:docMk/>
          <pc:sldMk cId="1843928928" sldId="372"/>
        </pc:sldMkLst>
        <pc:spChg chg="mod">
          <ac:chgData name="JC Montjoy" userId="0e120a3b0f88cb40" providerId="LiveId" clId="{5A12A05B-506A-404C-8B38-C384BFE19C58}" dt="2026-01-07T22:29:54.378" v="942" actId="403"/>
          <ac:spMkLst>
            <pc:docMk/>
            <pc:sldMk cId="1843928928" sldId="372"/>
            <ac:spMk id="14338" creationId="{B7290125-3C01-6545-F6F3-431958B348FA}"/>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392E3C4-3492-41D2-96F2-C77A63B39D4A}"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s-CL"/>
        </a:p>
      </dgm:t>
    </dgm:pt>
    <dgm:pt modelId="{52434FFA-2B54-479C-B94E-474D597ED4AA}">
      <dgm:prSet phldrT="[Texto]" phldr="0" custT="1"/>
      <dgm:spPr/>
      <dgm:t>
        <a:bodyPr/>
        <a:lstStyle/>
        <a:p>
          <a:pPr algn="ctr"/>
          <a:r>
            <a:rPr lang="es-CL" sz="2800" b="0" dirty="0"/>
            <a:t>Recursos Naturales</a:t>
          </a:r>
        </a:p>
      </dgm:t>
    </dgm:pt>
    <dgm:pt modelId="{D7932B83-9F98-404D-82C9-CA33832773E4}" type="parTrans" cxnId="{E7B91D07-C804-4CF1-BB48-DC3B2D293F6B}">
      <dgm:prSet/>
      <dgm:spPr/>
      <dgm:t>
        <a:bodyPr/>
        <a:lstStyle/>
        <a:p>
          <a:endParaRPr lang="es-CL"/>
        </a:p>
      </dgm:t>
    </dgm:pt>
    <dgm:pt modelId="{F805642B-BDB2-4F6E-977E-D1E75D818AA8}" type="sibTrans" cxnId="{E7B91D07-C804-4CF1-BB48-DC3B2D293F6B}">
      <dgm:prSet/>
      <dgm:spPr/>
      <dgm:t>
        <a:bodyPr/>
        <a:lstStyle/>
        <a:p>
          <a:endParaRPr lang="es-CL"/>
        </a:p>
      </dgm:t>
    </dgm:pt>
    <dgm:pt modelId="{265BB7D0-93A2-4EF4-9CBD-8B4C1FD4237B}">
      <dgm:prSet phldrT="[Texto]" phldr="0" custT="1"/>
      <dgm:spPr/>
      <dgm:t>
        <a:bodyPr/>
        <a:lstStyle/>
        <a:p>
          <a:r>
            <a:rPr lang="es-CL" sz="2800" dirty="0"/>
            <a:t>Sistema Jurídico</a:t>
          </a:r>
          <a:endParaRPr lang="es-CL" sz="4100" dirty="0"/>
        </a:p>
      </dgm:t>
    </dgm:pt>
    <dgm:pt modelId="{4CECD5EF-94E8-4223-B654-0F3C88BCC17B}" type="parTrans" cxnId="{9037FD54-7486-4C11-B8D7-41730147E9AC}">
      <dgm:prSet/>
      <dgm:spPr/>
      <dgm:t>
        <a:bodyPr/>
        <a:lstStyle/>
        <a:p>
          <a:endParaRPr lang="es-CL"/>
        </a:p>
      </dgm:t>
    </dgm:pt>
    <dgm:pt modelId="{7C1E6332-12D0-4773-A650-FC4CB767847E}" type="sibTrans" cxnId="{9037FD54-7486-4C11-B8D7-41730147E9AC}">
      <dgm:prSet/>
      <dgm:spPr/>
      <dgm:t>
        <a:bodyPr/>
        <a:lstStyle/>
        <a:p>
          <a:endParaRPr lang="es-CL"/>
        </a:p>
      </dgm:t>
    </dgm:pt>
    <dgm:pt modelId="{DD5DB425-E6BB-4393-97BB-280E9FA81D42}">
      <dgm:prSet phldrT="[Texto]" phldr="0" custT="1"/>
      <dgm:spPr/>
      <dgm:t>
        <a:bodyPr/>
        <a:lstStyle/>
        <a:p>
          <a:r>
            <a:rPr lang="es-CL" sz="2800" dirty="0"/>
            <a:t>Innovación Financiera</a:t>
          </a:r>
        </a:p>
      </dgm:t>
    </dgm:pt>
    <dgm:pt modelId="{BC91B2D8-3F1C-40EE-BB62-3BE240B2E55A}" type="parTrans" cxnId="{C074B06E-7AA1-4B10-8678-DC9D43233155}">
      <dgm:prSet/>
      <dgm:spPr/>
      <dgm:t>
        <a:bodyPr/>
        <a:lstStyle/>
        <a:p>
          <a:endParaRPr lang="es-CL"/>
        </a:p>
      </dgm:t>
    </dgm:pt>
    <dgm:pt modelId="{F9D6D82D-D6B0-4B6C-95A7-632F72F8888A}" type="sibTrans" cxnId="{C074B06E-7AA1-4B10-8678-DC9D43233155}">
      <dgm:prSet/>
      <dgm:spPr/>
      <dgm:t>
        <a:bodyPr/>
        <a:lstStyle/>
        <a:p>
          <a:endParaRPr lang="es-CL"/>
        </a:p>
      </dgm:t>
    </dgm:pt>
    <dgm:pt modelId="{B4897CA1-8790-49C5-8EB4-F4452EF9635C}">
      <dgm:prSet phldrT="[Texto]" phldr="0" custT="1"/>
      <dgm:spPr/>
      <dgm:t>
        <a:bodyPr/>
        <a:lstStyle/>
        <a:p>
          <a:r>
            <a:rPr lang="es-CL" sz="2800" dirty="0"/>
            <a:t>Demanda Interna</a:t>
          </a:r>
          <a:endParaRPr lang="es-CL" sz="3700" dirty="0"/>
        </a:p>
      </dgm:t>
    </dgm:pt>
    <dgm:pt modelId="{9FE54709-4004-4CED-B1FE-881AEFC5A89E}" type="parTrans" cxnId="{FF05E8D3-AF02-4763-A2C2-8AF8250D9175}">
      <dgm:prSet/>
      <dgm:spPr/>
      <dgm:t>
        <a:bodyPr/>
        <a:lstStyle/>
        <a:p>
          <a:endParaRPr lang="es-CL"/>
        </a:p>
      </dgm:t>
    </dgm:pt>
    <dgm:pt modelId="{A272D0A2-EE5E-4958-9E38-0A371D688B34}" type="sibTrans" cxnId="{FF05E8D3-AF02-4763-A2C2-8AF8250D9175}">
      <dgm:prSet/>
      <dgm:spPr/>
      <dgm:t>
        <a:bodyPr/>
        <a:lstStyle/>
        <a:p>
          <a:endParaRPr lang="es-CL"/>
        </a:p>
      </dgm:t>
    </dgm:pt>
    <dgm:pt modelId="{E361703A-97B6-4D48-B20A-F618837B3CD2}">
      <dgm:prSet phldrT="[Texto]" phldr="0" custT="1"/>
      <dgm:spPr/>
      <dgm:t>
        <a:bodyPr/>
        <a:lstStyle/>
        <a:p>
          <a:r>
            <a:rPr lang="es-CL" sz="2800" dirty="0"/>
            <a:t>Red Global</a:t>
          </a:r>
        </a:p>
      </dgm:t>
    </dgm:pt>
    <dgm:pt modelId="{4B5A2930-6A22-43CC-9B62-84667967FAE6}" type="parTrans" cxnId="{61168D5C-84AD-497A-94A7-78B4F08B570B}">
      <dgm:prSet/>
      <dgm:spPr/>
      <dgm:t>
        <a:bodyPr/>
        <a:lstStyle/>
        <a:p>
          <a:endParaRPr lang="es-CL"/>
        </a:p>
      </dgm:t>
    </dgm:pt>
    <dgm:pt modelId="{C467A09C-1C52-4773-BB02-FFF753338F22}" type="sibTrans" cxnId="{61168D5C-84AD-497A-94A7-78B4F08B570B}">
      <dgm:prSet/>
      <dgm:spPr/>
      <dgm:t>
        <a:bodyPr/>
        <a:lstStyle/>
        <a:p>
          <a:endParaRPr lang="es-CL"/>
        </a:p>
      </dgm:t>
    </dgm:pt>
    <dgm:pt modelId="{E5F51184-E0A0-4534-A8E4-01884EA63247}">
      <dgm:prSet custT="1"/>
      <dgm:spPr/>
      <dgm:t>
        <a:bodyPr/>
        <a:lstStyle/>
        <a:p>
          <a:r>
            <a:rPr lang="es-CL" sz="2800" dirty="0"/>
            <a:t>Estabilidad Política</a:t>
          </a:r>
        </a:p>
      </dgm:t>
    </dgm:pt>
    <dgm:pt modelId="{62F4F87B-F899-4F7C-87BC-CC6C56A1B37F}" type="parTrans" cxnId="{BA3641D3-4243-48E2-AA62-0D7AFD2E7859}">
      <dgm:prSet/>
      <dgm:spPr/>
      <dgm:t>
        <a:bodyPr/>
        <a:lstStyle/>
        <a:p>
          <a:endParaRPr lang="es-CL"/>
        </a:p>
      </dgm:t>
    </dgm:pt>
    <dgm:pt modelId="{C6E181D5-5E78-4865-A0BD-3F359D29AEC6}" type="sibTrans" cxnId="{BA3641D3-4243-48E2-AA62-0D7AFD2E7859}">
      <dgm:prSet/>
      <dgm:spPr/>
      <dgm:t>
        <a:bodyPr/>
        <a:lstStyle/>
        <a:p>
          <a:endParaRPr lang="es-CL"/>
        </a:p>
      </dgm:t>
    </dgm:pt>
    <dgm:pt modelId="{40140B9D-7D61-4CC3-8FA9-E97EF87D5082}">
      <dgm:prSet custT="1"/>
      <dgm:spPr/>
      <dgm:t>
        <a:bodyPr/>
        <a:lstStyle/>
        <a:p>
          <a:r>
            <a:rPr lang="es-CL" sz="2800" dirty="0"/>
            <a:t>Difusión de </a:t>
          </a:r>
          <a:r>
            <a:rPr lang="es-CL" sz="2400" dirty="0"/>
            <a:t>Conocimiento</a:t>
          </a:r>
          <a:endParaRPr lang="es-CL" sz="2800" dirty="0"/>
        </a:p>
      </dgm:t>
    </dgm:pt>
    <dgm:pt modelId="{A206B28E-F8EB-4A43-AC02-9E036DD9C10C}" type="parTrans" cxnId="{F7399EFD-D85B-470B-9FB4-F2BE7E692135}">
      <dgm:prSet/>
      <dgm:spPr/>
      <dgm:t>
        <a:bodyPr/>
        <a:lstStyle/>
        <a:p>
          <a:endParaRPr lang="es-CL"/>
        </a:p>
      </dgm:t>
    </dgm:pt>
    <dgm:pt modelId="{6249CB35-856D-4F01-9A01-2168DF6F3185}" type="sibTrans" cxnId="{F7399EFD-D85B-470B-9FB4-F2BE7E692135}">
      <dgm:prSet/>
      <dgm:spPr/>
      <dgm:t>
        <a:bodyPr/>
        <a:lstStyle/>
        <a:p>
          <a:endParaRPr lang="es-CL"/>
        </a:p>
      </dgm:t>
    </dgm:pt>
    <dgm:pt modelId="{7A0B5C04-0591-4E84-8271-11609FCCC626}">
      <dgm:prSet/>
      <dgm:spPr/>
      <dgm:t>
        <a:bodyPr/>
        <a:lstStyle/>
        <a:p>
          <a:r>
            <a:rPr lang="es-CL" dirty="0"/>
            <a:t>Prestigio por emprender</a:t>
          </a:r>
        </a:p>
      </dgm:t>
    </dgm:pt>
    <dgm:pt modelId="{73B3F3DD-1072-46D6-B5C8-8A421F324267}" type="parTrans" cxnId="{5C9A711C-52C9-4CEE-89CF-664F7E6FB5CE}">
      <dgm:prSet/>
      <dgm:spPr/>
      <dgm:t>
        <a:bodyPr/>
        <a:lstStyle/>
        <a:p>
          <a:endParaRPr lang="es-CL"/>
        </a:p>
      </dgm:t>
    </dgm:pt>
    <dgm:pt modelId="{84589AC0-BF05-4003-8ACF-E0A1F0940003}" type="sibTrans" cxnId="{5C9A711C-52C9-4CEE-89CF-664F7E6FB5CE}">
      <dgm:prSet/>
      <dgm:spPr/>
      <dgm:t>
        <a:bodyPr/>
        <a:lstStyle/>
        <a:p>
          <a:endParaRPr lang="es-CL"/>
        </a:p>
      </dgm:t>
    </dgm:pt>
    <dgm:pt modelId="{419BAC00-9C40-4D89-A835-367AD49CF632}">
      <dgm:prSet/>
      <dgm:spPr/>
      <dgm:t>
        <a:bodyPr/>
        <a:lstStyle/>
        <a:p>
          <a:r>
            <a:rPr lang="es-CL" dirty="0"/>
            <a:t>Innovaciones Claves</a:t>
          </a:r>
        </a:p>
      </dgm:t>
    </dgm:pt>
    <dgm:pt modelId="{A4A92A46-1C79-46C0-BCBA-6077CD56EDF5}" type="parTrans" cxnId="{81E6AC8E-9BFF-4859-8194-9C920EA182A7}">
      <dgm:prSet/>
      <dgm:spPr/>
      <dgm:t>
        <a:bodyPr/>
        <a:lstStyle/>
        <a:p>
          <a:endParaRPr lang="es-CL"/>
        </a:p>
      </dgm:t>
    </dgm:pt>
    <dgm:pt modelId="{FD0F22ED-3775-497F-85BC-69BCD734681B}" type="sibTrans" cxnId="{81E6AC8E-9BFF-4859-8194-9C920EA182A7}">
      <dgm:prSet/>
      <dgm:spPr/>
      <dgm:t>
        <a:bodyPr/>
        <a:lstStyle/>
        <a:p>
          <a:endParaRPr lang="es-CL"/>
        </a:p>
      </dgm:t>
    </dgm:pt>
    <dgm:pt modelId="{F079C18B-2D26-43DD-8E3F-306400A4A4CF}" type="pres">
      <dgm:prSet presAssocID="{E392E3C4-3492-41D2-96F2-C77A63B39D4A}" presName="diagram" presStyleCnt="0">
        <dgm:presLayoutVars>
          <dgm:dir/>
          <dgm:resizeHandles val="exact"/>
        </dgm:presLayoutVars>
      </dgm:prSet>
      <dgm:spPr/>
    </dgm:pt>
    <dgm:pt modelId="{0DB76F9A-ACF5-463E-9C84-5D0424B880A1}" type="pres">
      <dgm:prSet presAssocID="{52434FFA-2B54-479C-B94E-474D597ED4AA}" presName="node" presStyleLbl="node1" presStyleIdx="0" presStyleCnt="9">
        <dgm:presLayoutVars>
          <dgm:bulletEnabled val="1"/>
        </dgm:presLayoutVars>
      </dgm:prSet>
      <dgm:spPr/>
    </dgm:pt>
    <dgm:pt modelId="{80C1D9E0-D5D2-468C-9081-5E20E0376DC2}" type="pres">
      <dgm:prSet presAssocID="{F805642B-BDB2-4F6E-977E-D1E75D818AA8}" presName="sibTrans" presStyleCnt="0"/>
      <dgm:spPr/>
    </dgm:pt>
    <dgm:pt modelId="{2805D1FE-21AD-4BD9-88C2-E274CCC8E327}" type="pres">
      <dgm:prSet presAssocID="{E5F51184-E0A0-4534-A8E4-01884EA63247}" presName="node" presStyleLbl="node1" presStyleIdx="1" presStyleCnt="9">
        <dgm:presLayoutVars>
          <dgm:bulletEnabled val="1"/>
        </dgm:presLayoutVars>
      </dgm:prSet>
      <dgm:spPr/>
    </dgm:pt>
    <dgm:pt modelId="{D5DDC10E-7BEF-496B-ADEA-7AE6EB5E97FD}" type="pres">
      <dgm:prSet presAssocID="{C6E181D5-5E78-4865-A0BD-3F359D29AEC6}" presName="sibTrans" presStyleCnt="0"/>
      <dgm:spPr/>
    </dgm:pt>
    <dgm:pt modelId="{40DC9694-FCEA-4A2A-9202-F2384C624B14}" type="pres">
      <dgm:prSet presAssocID="{265BB7D0-93A2-4EF4-9CBD-8B4C1FD4237B}" presName="node" presStyleLbl="node1" presStyleIdx="2" presStyleCnt="9">
        <dgm:presLayoutVars>
          <dgm:bulletEnabled val="1"/>
        </dgm:presLayoutVars>
      </dgm:prSet>
      <dgm:spPr/>
    </dgm:pt>
    <dgm:pt modelId="{C5850DDB-9332-44FF-B4D5-91CE7711362A}" type="pres">
      <dgm:prSet presAssocID="{7C1E6332-12D0-4773-A650-FC4CB767847E}" presName="sibTrans" presStyleCnt="0"/>
      <dgm:spPr/>
    </dgm:pt>
    <dgm:pt modelId="{AE8D3FC0-F602-42A8-AE35-9796EF80E6AB}" type="pres">
      <dgm:prSet presAssocID="{DD5DB425-E6BB-4393-97BB-280E9FA81D42}" presName="node" presStyleLbl="node1" presStyleIdx="3" presStyleCnt="9">
        <dgm:presLayoutVars>
          <dgm:bulletEnabled val="1"/>
        </dgm:presLayoutVars>
      </dgm:prSet>
      <dgm:spPr/>
    </dgm:pt>
    <dgm:pt modelId="{2E029EA4-123C-4A9C-8BD7-D4817D44D4FB}" type="pres">
      <dgm:prSet presAssocID="{F9D6D82D-D6B0-4B6C-95A7-632F72F8888A}" presName="sibTrans" presStyleCnt="0"/>
      <dgm:spPr/>
    </dgm:pt>
    <dgm:pt modelId="{A47BBBC6-D7D6-4858-8815-A3130E30B035}" type="pres">
      <dgm:prSet presAssocID="{B4897CA1-8790-49C5-8EB4-F4452EF9635C}" presName="node" presStyleLbl="node1" presStyleIdx="4" presStyleCnt="9">
        <dgm:presLayoutVars>
          <dgm:bulletEnabled val="1"/>
        </dgm:presLayoutVars>
      </dgm:prSet>
      <dgm:spPr/>
    </dgm:pt>
    <dgm:pt modelId="{14D214D6-4275-43CD-816F-7974EB4017B3}" type="pres">
      <dgm:prSet presAssocID="{A272D0A2-EE5E-4958-9E38-0A371D688B34}" presName="sibTrans" presStyleCnt="0"/>
      <dgm:spPr/>
    </dgm:pt>
    <dgm:pt modelId="{73CC831F-AE7D-4908-9C87-21FBF03CB4AB}" type="pres">
      <dgm:prSet presAssocID="{E361703A-97B6-4D48-B20A-F618837B3CD2}" presName="node" presStyleLbl="node1" presStyleIdx="5" presStyleCnt="9">
        <dgm:presLayoutVars>
          <dgm:bulletEnabled val="1"/>
        </dgm:presLayoutVars>
      </dgm:prSet>
      <dgm:spPr/>
    </dgm:pt>
    <dgm:pt modelId="{D3E13AE6-0951-4629-987A-694CB63CED56}" type="pres">
      <dgm:prSet presAssocID="{C467A09C-1C52-4773-BB02-FFF753338F22}" presName="sibTrans" presStyleCnt="0"/>
      <dgm:spPr/>
    </dgm:pt>
    <dgm:pt modelId="{1D1AB9B9-27FC-4988-9D55-18DE19E6169E}" type="pres">
      <dgm:prSet presAssocID="{40140B9D-7D61-4CC3-8FA9-E97EF87D5082}" presName="node" presStyleLbl="node1" presStyleIdx="6" presStyleCnt="9">
        <dgm:presLayoutVars>
          <dgm:bulletEnabled val="1"/>
        </dgm:presLayoutVars>
      </dgm:prSet>
      <dgm:spPr/>
    </dgm:pt>
    <dgm:pt modelId="{BA31F0B1-6049-4118-ABEE-20268D641501}" type="pres">
      <dgm:prSet presAssocID="{6249CB35-856D-4F01-9A01-2168DF6F3185}" presName="sibTrans" presStyleCnt="0"/>
      <dgm:spPr/>
    </dgm:pt>
    <dgm:pt modelId="{09BCA5CE-6E09-4F81-8ECF-38AB655D7E30}" type="pres">
      <dgm:prSet presAssocID="{7A0B5C04-0591-4E84-8271-11609FCCC626}" presName="node" presStyleLbl="node1" presStyleIdx="7" presStyleCnt="9">
        <dgm:presLayoutVars>
          <dgm:bulletEnabled val="1"/>
        </dgm:presLayoutVars>
      </dgm:prSet>
      <dgm:spPr/>
    </dgm:pt>
    <dgm:pt modelId="{2C41270D-4E83-4FB9-AC8D-89E8DF6AEA52}" type="pres">
      <dgm:prSet presAssocID="{84589AC0-BF05-4003-8ACF-E0A1F0940003}" presName="sibTrans" presStyleCnt="0"/>
      <dgm:spPr/>
    </dgm:pt>
    <dgm:pt modelId="{42512B30-5FB6-4DD2-8AC4-6EC1E1D40820}" type="pres">
      <dgm:prSet presAssocID="{419BAC00-9C40-4D89-A835-367AD49CF632}" presName="node" presStyleLbl="node1" presStyleIdx="8" presStyleCnt="9">
        <dgm:presLayoutVars>
          <dgm:bulletEnabled val="1"/>
        </dgm:presLayoutVars>
      </dgm:prSet>
      <dgm:spPr/>
    </dgm:pt>
  </dgm:ptLst>
  <dgm:cxnLst>
    <dgm:cxn modelId="{E7B91D07-C804-4CF1-BB48-DC3B2D293F6B}" srcId="{E392E3C4-3492-41D2-96F2-C77A63B39D4A}" destId="{52434FFA-2B54-479C-B94E-474D597ED4AA}" srcOrd="0" destOrd="0" parTransId="{D7932B83-9F98-404D-82C9-CA33832773E4}" sibTransId="{F805642B-BDB2-4F6E-977E-D1E75D818AA8}"/>
    <dgm:cxn modelId="{5C9A711C-52C9-4CEE-89CF-664F7E6FB5CE}" srcId="{E392E3C4-3492-41D2-96F2-C77A63B39D4A}" destId="{7A0B5C04-0591-4E84-8271-11609FCCC626}" srcOrd="7" destOrd="0" parTransId="{73B3F3DD-1072-46D6-B5C8-8A421F324267}" sibTransId="{84589AC0-BF05-4003-8ACF-E0A1F0940003}"/>
    <dgm:cxn modelId="{0A382524-F1E8-4618-AEC5-8A8069879FDE}" type="presOf" srcId="{7A0B5C04-0591-4E84-8271-11609FCCC626}" destId="{09BCA5CE-6E09-4F81-8ECF-38AB655D7E30}" srcOrd="0" destOrd="0" presId="urn:microsoft.com/office/officeart/2005/8/layout/default"/>
    <dgm:cxn modelId="{6623E032-D51A-4CFC-93DD-86D2AEC7F199}" type="presOf" srcId="{419BAC00-9C40-4D89-A835-367AD49CF632}" destId="{42512B30-5FB6-4DD2-8AC4-6EC1E1D40820}" srcOrd="0" destOrd="0" presId="urn:microsoft.com/office/officeart/2005/8/layout/default"/>
    <dgm:cxn modelId="{61168D5C-84AD-497A-94A7-78B4F08B570B}" srcId="{E392E3C4-3492-41D2-96F2-C77A63B39D4A}" destId="{E361703A-97B6-4D48-B20A-F618837B3CD2}" srcOrd="5" destOrd="0" parTransId="{4B5A2930-6A22-43CC-9B62-84667967FAE6}" sibTransId="{C467A09C-1C52-4773-BB02-FFF753338F22}"/>
    <dgm:cxn modelId="{99ED6E4A-53EC-46B7-A7CC-FF8376263B89}" type="presOf" srcId="{52434FFA-2B54-479C-B94E-474D597ED4AA}" destId="{0DB76F9A-ACF5-463E-9C84-5D0424B880A1}" srcOrd="0" destOrd="0" presId="urn:microsoft.com/office/officeart/2005/8/layout/default"/>
    <dgm:cxn modelId="{C074B06E-7AA1-4B10-8678-DC9D43233155}" srcId="{E392E3C4-3492-41D2-96F2-C77A63B39D4A}" destId="{DD5DB425-E6BB-4393-97BB-280E9FA81D42}" srcOrd="3" destOrd="0" parTransId="{BC91B2D8-3F1C-40EE-BB62-3BE240B2E55A}" sibTransId="{F9D6D82D-D6B0-4B6C-95A7-632F72F8888A}"/>
    <dgm:cxn modelId="{9037FD54-7486-4C11-B8D7-41730147E9AC}" srcId="{E392E3C4-3492-41D2-96F2-C77A63B39D4A}" destId="{265BB7D0-93A2-4EF4-9CBD-8B4C1FD4237B}" srcOrd="2" destOrd="0" parTransId="{4CECD5EF-94E8-4223-B654-0F3C88BCC17B}" sibTransId="{7C1E6332-12D0-4773-A650-FC4CB767847E}"/>
    <dgm:cxn modelId="{B45A5458-BC14-4C91-9CFD-2A186FFEF773}" type="presOf" srcId="{B4897CA1-8790-49C5-8EB4-F4452EF9635C}" destId="{A47BBBC6-D7D6-4858-8815-A3130E30B035}" srcOrd="0" destOrd="0" presId="urn:microsoft.com/office/officeart/2005/8/layout/default"/>
    <dgm:cxn modelId="{B2B7B87B-F4C4-46F4-ADAE-7D846E038578}" type="presOf" srcId="{E5F51184-E0A0-4534-A8E4-01884EA63247}" destId="{2805D1FE-21AD-4BD9-88C2-E274CCC8E327}" srcOrd="0" destOrd="0" presId="urn:microsoft.com/office/officeart/2005/8/layout/default"/>
    <dgm:cxn modelId="{84DE847E-F115-4C0E-9D4A-EB8B2F655516}" type="presOf" srcId="{E361703A-97B6-4D48-B20A-F618837B3CD2}" destId="{73CC831F-AE7D-4908-9C87-21FBF03CB4AB}" srcOrd="0" destOrd="0" presId="urn:microsoft.com/office/officeart/2005/8/layout/default"/>
    <dgm:cxn modelId="{30584582-8861-4182-B85C-F0EA1B39361E}" type="presOf" srcId="{40140B9D-7D61-4CC3-8FA9-E97EF87D5082}" destId="{1D1AB9B9-27FC-4988-9D55-18DE19E6169E}" srcOrd="0" destOrd="0" presId="urn:microsoft.com/office/officeart/2005/8/layout/default"/>
    <dgm:cxn modelId="{81E6AC8E-9BFF-4859-8194-9C920EA182A7}" srcId="{E392E3C4-3492-41D2-96F2-C77A63B39D4A}" destId="{419BAC00-9C40-4D89-A835-367AD49CF632}" srcOrd="8" destOrd="0" parTransId="{A4A92A46-1C79-46C0-BCBA-6077CD56EDF5}" sibTransId="{FD0F22ED-3775-497F-85BC-69BCD734681B}"/>
    <dgm:cxn modelId="{B2A8DBA7-BA60-41EE-A9C0-8413E05EAB64}" type="presOf" srcId="{E392E3C4-3492-41D2-96F2-C77A63B39D4A}" destId="{F079C18B-2D26-43DD-8E3F-306400A4A4CF}" srcOrd="0" destOrd="0" presId="urn:microsoft.com/office/officeart/2005/8/layout/default"/>
    <dgm:cxn modelId="{BFB882C3-0051-4B3A-A649-EF90D6C2E1A4}" type="presOf" srcId="{265BB7D0-93A2-4EF4-9CBD-8B4C1FD4237B}" destId="{40DC9694-FCEA-4A2A-9202-F2384C624B14}" srcOrd="0" destOrd="0" presId="urn:microsoft.com/office/officeart/2005/8/layout/default"/>
    <dgm:cxn modelId="{BA3641D3-4243-48E2-AA62-0D7AFD2E7859}" srcId="{E392E3C4-3492-41D2-96F2-C77A63B39D4A}" destId="{E5F51184-E0A0-4534-A8E4-01884EA63247}" srcOrd="1" destOrd="0" parTransId="{62F4F87B-F899-4F7C-87BC-CC6C56A1B37F}" sibTransId="{C6E181D5-5E78-4865-A0BD-3F359D29AEC6}"/>
    <dgm:cxn modelId="{FF05E8D3-AF02-4763-A2C2-8AF8250D9175}" srcId="{E392E3C4-3492-41D2-96F2-C77A63B39D4A}" destId="{B4897CA1-8790-49C5-8EB4-F4452EF9635C}" srcOrd="4" destOrd="0" parTransId="{9FE54709-4004-4CED-B1FE-881AEFC5A89E}" sibTransId="{A272D0A2-EE5E-4958-9E38-0A371D688B34}"/>
    <dgm:cxn modelId="{730EF7D7-9941-4FDE-8DA5-4632A2B0EF58}" type="presOf" srcId="{DD5DB425-E6BB-4393-97BB-280E9FA81D42}" destId="{AE8D3FC0-F602-42A8-AE35-9796EF80E6AB}" srcOrd="0" destOrd="0" presId="urn:microsoft.com/office/officeart/2005/8/layout/default"/>
    <dgm:cxn modelId="{F7399EFD-D85B-470B-9FB4-F2BE7E692135}" srcId="{E392E3C4-3492-41D2-96F2-C77A63B39D4A}" destId="{40140B9D-7D61-4CC3-8FA9-E97EF87D5082}" srcOrd="6" destOrd="0" parTransId="{A206B28E-F8EB-4A43-AC02-9E036DD9C10C}" sibTransId="{6249CB35-856D-4F01-9A01-2168DF6F3185}"/>
    <dgm:cxn modelId="{85BC6EB2-F5E6-4F50-93F7-74C81A278893}" type="presParOf" srcId="{F079C18B-2D26-43DD-8E3F-306400A4A4CF}" destId="{0DB76F9A-ACF5-463E-9C84-5D0424B880A1}" srcOrd="0" destOrd="0" presId="urn:microsoft.com/office/officeart/2005/8/layout/default"/>
    <dgm:cxn modelId="{B6854E46-3007-4FAB-A67D-F26F79A1F163}" type="presParOf" srcId="{F079C18B-2D26-43DD-8E3F-306400A4A4CF}" destId="{80C1D9E0-D5D2-468C-9081-5E20E0376DC2}" srcOrd="1" destOrd="0" presId="urn:microsoft.com/office/officeart/2005/8/layout/default"/>
    <dgm:cxn modelId="{94B6D152-B635-45B7-A8D6-81603C2F8E87}" type="presParOf" srcId="{F079C18B-2D26-43DD-8E3F-306400A4A4CF}" destId="{2805D1FE-21AD-4BD9-88C2-E274CCC8E327}" srcOrd="2" destOrd="0" presId="urn:microsoft.com/office/officeart/2005/8/layout/default"/>
    <dgm:cxn modelId="{7B6BD418-CF02-4F8B-BEC9-4C5B1EC2D50F}" type="presParOf" srcId="{F079C18B-2D26-43DD-8E3F-306400A4A4CF}" destId="{D5DDC10E-7BEF-496B-ADEA-7AE6EB5E97FD}" srcOrd="3" destOrd="0" presId="urn:microsoft.com/office/officeart/2005/8/layout/default"/>
    <dgm:cxn modelId="{C75D43F9-8756-432F-901E-DBFDE9B0D334}" type="presParOf" srcId="{F079C18B-2D26-43DD-8E3F-306400A4A4CF}" destId="{40DC9694-FCEA-4A2A-9202-F2384C624B14}" srcOrd="4" destOrd="0" presId="urn:microsoft.com/office/officeart/2005/8/layout/default"/>
    <dgm:cxn modelId="{73C4EAEF-C8B0-42C9-814A-42492B93B164}" type="presParOf" srcId="{F079C18B-2D26-43DD-8E3F-306400A4A4CF}" destId="{C5850DDB-9332-44FF-B4D5-91CE7711362A}" srcOrd="5" destOrd="0" presId="urn:microsoft.com/office/officeart/2005/8/layout/default"/>
    <dgm:cxn modelId="{78FCB73B-2568-4646-9BFF-D224E9AF274D}" type="presParOf" srcId="{F079C18B-2D26-43DD-8E3F-306400A4A4CF}" destId="{AE8D3FC0-F602-42A8-AE35-9796EF80E6AB}" srcOrd="6" destOrd="0" presId="urn:microsoft.com/office/officeart/2005/8/layout/default"/>
    <dgm:cxn modelId="{EC444E15-B6B0-48B4-884A-E9C6B8B9E89A}" type="presParOf" srcId="{F079C18B-2D26-43DD-8E3F-306400A4A4CF}" destId="{2E029EA4-123C-4A9C-8BD7-D4817D44D4FB}" srcOrd="7" destOrd="0" presId="urn:microsoft.com/office/officeart/2005/8/layout/default"/>
    <dgm:cxn modelId="{3CE5E837-6FBB-46C7-8623-B194607A6674}" type="presParOf" srcId="{F079C18B-2D26-43DD-8E3F-306400A4A4CF}" destId="{A47BBBC6-D7D6-4858-8815-A3130E30B035}" srcOrd="8" destOrd="0" presId="urn:microsoft.com/office/officeart/2005/8/layout/default"/>
    <dgm:cxn modelId="{3F404A92-857B-42C2-B52C-E1C8286264E9}" type="presParOf" srcId="{F079C18B-2D26-43DD-8E3F-306400A4A4CF}" destId="{14D214D6-4275-43CD-816F-7974EB4017B3}" srcOrd="9" destOrd="0" presId="urn:microsoft.com/office/officeart/2005/8/layout/default"/>
    <dgm:cxn modelId="{06E5488F-BA2F-4A9C-83BF-A2A4A9C3529E}" type="presParOf" srcId="{F079C18B-2D26-43DD-8E3F-306400A4A4CF}" destId="{73CC831F-AE7D-4908-9C87-21FBF03CB4AB}" srcOrd="10" destOrd="0" presId="urn:microsoft.com/office/officeart/2005/8/layout/default"/>
    <dgm:cxn modelId="{10B3041B-5DB9-4C5C-802C-CE0D2D3A2049}" type="presParOf" srcId="{F079C18B-2D26-43DD-8E3F-306400A4A4CF}" destId="{D3E13AE6-0951-4629-987A-694CB63CED56}" srcOrd="11" destOrd="0" presId="urn:microsoft.com/office/officeart/2005/8/layout/default"/>
    <dgm:cxn modelId="{AF6574B2-6D4F-4295-B2E7-EE7B1725E141}" type="presParOf" srcId="{F079C18B-2D26-43DD-8E3F-306400A4A4CF}" destId="{1D1AB9B9-27FC-4988-9D55-18DE19E6169E}" srcOrd="12" destOrd="0" presId="urn:microsoft.com/office/officeart/2005/8/layout/default"/>
    <dgm:cxn modelId="{3537BA2B-0FD9-4D55-837D-4BFB99ABCFA2}" type="presParOf" srcId="{F079C18B-2D26-43DD-8E3F-306400A4A4CF}" destId="{BA31F0B1-6049-4118-ABEE-20268D641501}" srcOrd="13" destOrd="0" presId="urn:microsoft.com/office/officeart/2005/8/layout/default"/>
    <dgm:cxn modelId="{08AA005E-B211-43D6-9700-EA5B340F1BEF}" type="presParOf" srcId="{F079C18B-2D26-43DD-8E3F-306400A4A4CF}" destId="{09BCA5CE-6E09-4F81-8ECF-38AB655D7E30}" srcOrd="14" destOrd="0" presId="urn:microsoft.com/office/officeart/2005/8/layout/default"/>
    <dgm:cxn modelId="{901A8C93-BC17-4D2A-97E9-233D0CBBAC06}" type="presParOf" srcId="{F079C18B-2D26-43DD-8E3F-306400A4A4CF}" destId="{2C41270D-4E83-4FB9-AC8D-89E8DF6AEA52}" srcOrd="15" destOrd="0" presId="urn:microsoft.com/office/officeart/2005/8/layout/default"/>
    <dgm:cxn modelId="{2E2300DE-0A7F-4402-B1CC-6CE1FD8E711F}" type="presParOf" srcId="{F079C18B-2D26-43DD-8E3F-306400A4A4CF}" destId="{42512B30-5FB6-4DD2-8AC4-6EC1E1D40820}" srcOrd="16" destOrd="0" presId="urn:microsoft.com/office/officeart/2005/8/layout/defaul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B76F9A-ACF5-463E-9C84-5D0424B880A1}">
      <dsp:nvSpPr>
        <dsp:cNvPr id="0" name=""/>
        <dsp:cNvSpPr/>
      </dsp:nvSpPr>
      <dsp:spPr>
        <a:xfrm>
          <a:off x="0" y="228112"/>
          <a:ext cx="2100127" cy="1260076"/>
        </a:xfrm>
        <a:prstGeom prst="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s-CL" sz="2800" b="0" kern="1200" dirty="0"/>
            <a:t>Recursos Naturales</a:t>
          </a:r>
        </a:p>
      </dsp:txBody>
      <dsp:txXfrm>
        <a:off x="0" y="228112"/>
        <a:ext cx="2100127" cy="1260076"/>
      </dsp:txXfrm>
    </dsp:sp>
    <dsp:sp modelId="{2805D1FE-21AD-4BD9-88C2-E274CCC8E327}">
      <dsp:nvSpPr>
        <dsp:cNvPr id="0" name=""/>
        <dsp:cNvSpPr/>
      </dsp:nvSpPr>
      <dsp:spPr>
        <a:xfrm>
          <a:off x="2310140" y="228112"/>
          <a:ext cx="2100127" cy="1260076"/>
        </a:xfrm>
        <a:prstGeom prst="rect">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s-CL" sz="2800" kern="1200" dirty="0"/>
            <a:t>Estabilidad Política</a:t>
          </a:r>
        </a:p>
      </dsp:txBody>
      <dsp:txXfrm>
        <a:off x="2310140" y="228112"/>
        <a:ext cx="2100127" cy="1260076"/>
      </dsp:txXfrm>
    </dsp:sp>
    <dsp:sp modelId="{40DC9694-FCEA-4A2A-9202-F2384C624B14}">
      <dsp:nvSpPr>
        <dsp:cNvPr id="0" name=""/>
        <dsp:cNvSpPr/>
      </dsp:nvSpPr>
      <dsp:spPr>
        <a:xfrm>
          <a:off x="4620280" y="228112"/>
          <a:ext cx="2100127" cy="1260076"/>
        </a:xfrm>
        <a:prstGeom prst="rect">
          <a:avLst/>
        </a:prstGeom>
        <a:solidFill>
          <a:schemeClr val="accent4">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s-CL" sz="2800" kern="1200" dirty="0"/>
            <a:t>Sistema Jurídico</a:t>
          </a:r>
          <a:endParaRPr lang="es-CL" sz="4100" kern="1200" dirty="0"/>
        </a:p>
      </dsp:txBody>
      <dsp:txXfrm>
        <a:off x="4620280" y="228112"/>
        <a:ext cx="2100127" cy="1260076"/>
      </dsp:txXfrm>
    </dsp:sp>
    <dsp:sp modelId="{AE8D3FC0-F602-42A8-AE35-9796EF80E6AB}">
      <dsp:nvSpPr>
        <dsp:cNvPr id="0" name=""/>
        <dsp:cNvSpPr/>
      </dsp:nvSpPr>
      <dsp:spPr>
        <a:xfrm>
          <a:off x="0" y="1698201"/>
          <a:ext cx="2100127" cy="1260076"/>
        </a:xfrm>
        <a:prstGeom prst="rect">
          <a:avLst/>
        </a:prstGeom>
        <a:solidFill>
          <a:schemeClr val="accent5">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s-CL" sz="2800" kern="1200" dirty="0"/>
            <a:t>Innovación Financiera</a:t>
          </a:r>
        </a:p>
      </dsp:txBody>
      <dsp:txXfrm>
        <a:off x="0" y="1698201"/>
        <a:ext cx="2100127" cy="1260076"/>
      </dsp:txXfrm>
    </dsp:sp>
    <dsp:sp modelId="{A47BBBC6-D7D6-4858-8815-A3130E30B035}">
      <dsp:nvSpPr>
        <dsp:cNvPr id="0" name=""/>
        <dsp:cNvSpPr/>
      </dsp:nvSpPr>
      <dsp:spPr>
        <a:xfrm>
          <a:off x="2310140" y="1698201"/>
          <a:ext cx="2100127" cy="1260076"/>
        </a:xfrm>
        <a:prstGeom prst="rect">
          <a:avLst/>
        </a:prstGeom>
        <a:solidFill>
          <a:schemeClr val="accent6">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s-CL" sz="2800" kern="1200" dirty="0"/>
            <a:t>Demanda Interna</a:t>
          </a:r>
          <a:endParaRPr lang="es-CL" sz="3700" kern="1200" dirty="0"/>
        </a:p>
      </dsp:txBody>
      <dsp:txXfrm>
        <a:off x="2310140" y="1698201"/>
        <a:ext cx="2100127" cy="1260076"/>
      </dsp:txXfrm>
    </dsp:sp>
    <dsp:sp modelId="{73CC831F-AE7D-4908-9C87-21FBF03CB4AB}">
      <dsp:nvSpPr>
        <dsp:cNvPr id="0" name=""/>
        <dsp:cNvSpPr/>
      </dsp:nvSpPr>
      <dsp:spPr>
        <a:xfrm>
          <a:off x="4620280" y="1698201"/>
          <a:ext cx="2100127" cy="1260076"/>
        </a:xfrm>
        <a:prstGeom prst="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s-CL" sz="2800" kern="1200" dirty="0"/>
            <a:t>Red Global</a:t>
          </a:r>
        </a:p>
      </dsp:txBody>
      <dsp:txXfrm>
        <a:off x="4620280" y="1698201"/>
        <a:ext cx="2100127" cy="1260076"/>
      </dsp:txXfrm>
    </dsp:sp>
    <dsp:sp modelId="{1D1AB9B9-27FC-4988-9D55-18DE19E6169E}">
      <dsp:nvSpPr>
        <dsp:cNvPr id="0" name=""/>
        <dsp:cNvSpPr/>
      </dsp:nvSpPr>
      <dsp:spPr>
        <a:xfrm>
          <a:off x="0" y="3168291"/>
          <a:ext cx="2100127" cy="1260076"/>
        </a:xfrm>
        <a:prstGeom prst="rect">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s-CL" sz="2800" kern="1200" dirty="0"/>
            <a:t>Difusión de </a:t>
          </a:r>
          <a:r>
            <a:rPr lang="es-CL" sz="2400" kern="1200" dirty="0"/>
            <a:t>Conocimiento</a:t>
          </a:r>
          <a:endParaRPr lang="es-CL" sz="2800" kern="1200" dirty="0"/>
        </a:p>
      </dsp:txBody>
      <dsp:txXfrm>
        <a:off x="0" y="3168291"/>
        <a:ext cx="2100127" cy="1260076"/>
      </dsp:txXfrm>
    </dsp:sp>
    <dsp:sp modelId="{09BCA5CE-6E09-4F81-8ECF-38AB655D7E30}">
      <dsp:nvSpPr>
        <dsp:cNvPr id="0" name=""/>
        <dsp:cNvSpPr/>
      </dsp:nvSpPr>
      <dsp:spPr>
        <a:xfrm>
          <a:off x="2310140" y="3168291"/>
          <a:ext cx="2100127" cy="1260076"/>
        </a:xfrm>
        <a:prstGeom prst="rect">
          <a:avLst/>
        </a:prstGeom>
        <a:solidFill>
          <a:schemeClr val="accent4">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s-CL" sz="2500" kern="1200" dirty="0"/>
            <a:t>Prestigio por emprender</a:t>
          </a:r>
        </a:p>
      </dsp:txBody>
      <dsp:txXfrm>
        <a:off x="2310140" y="3168291"/>
        <a:ext cx="2100127" cy="1260076"/>
      </dsp:txXfrm>
    </dsp:sp>
    <dsp:sp modelId="{42512B30-5FB6-4DD2-8AC4-6EC1E1D40820}">
      <dsp:nvSpPr>
        <dsp:cNvPr id="0" name=""/>
        <dsp:cNvSpPr/>
      </dsp:nvSpPr>
      <dsp:spPr>
        <a:xfrm>
          <a:off x="4620280" y="3168291"/>
          <a:ext cx="2100127" cy="1260076"/>
        </a:xfrm>
        <a:prstGeom prst="rect">
          <a:avLst/>
        </a:prstGeom>
        <a:solidFill>
          <a:schemeClr val="accent5">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s-CL" sz="2500" kern="1200" dirty="0"/>
            <a:t>Innovaciones Claves</a:t>
          </a:r>
        </a:p>
      </dsp:txBody>
      <dsp:txXfrm>
        <a:off x="4620280" y="3168291"/>
        <a:ext cx="2100127" cy="1260076"/>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eaLnBrk="1" hangingPunct="1">
              <a:defRPr sz="1200"/>
            </a:lvl1pPr>
          </a:lstStyle>
          <a:p>
            <a:endParaRPr lang="es-CL" altLang="es-CL"/>
          </a:p>
        </p:txBody>
      </p:sp>
      <p:sp>
        <p:nvSpPr>
          <p:cNvPr id="3" name="2 Marcador de fecha"/>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fld id="{5F6114E1-827A-484E-9BE3-C1BD686D8E6B}" type="datetimeFigureOut">
              <a:rPr lang="es-ES" altLang="es-CL"/>
              <a:pPr/>
              <a:t>07/01/2026</a:t>
            </a:fld>
            <a:endParaRPr lang="es-ES" altLang="es-CL"/>
          </a:p>
        </p:txBody>
      </p:sp>
      <p:sp>
        <p:nvSpPr>
          <p:cNvPr id="4" name="3 Marcador de pie de página"/>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eaLnBrk="1" hangingPunct="1">
              <a:defRPr sz="1200"/>
            </a:lvl1pPr>
          </a:lstStyle>
          <a:p>
            <a:endParaRPr lang="es-CL" altLang="es-CL"/>
          </a:p>
        </p:txBody>
      </p:sp>
      <p:sp>
        <p:nvSpPr>
          <p:cNvPr id="5" name="4 Marcador de número de diapositiva"/>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93098543-C4BA-4A89-8170-FFA16015AC4E}" type="slidenum">
              <a:rPr lang="es-ES" altLang="es-ES"/>
              <a:pPr/>
              <a:t>‹Nº›</a:t>
            </a:fld>
            <a:endParaRPr lang="es-ES" altLang="es-E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eaLnBrk="1" hangingPunct="1">
              <a:defRPr sz="1200"/>
            </a:lvl1pPr>
          </a:lstStyle>
          <a:p>
            <a:endParaRPr lang="es-CL" altLang="es-CL"/>
          </a:p>
        </p:txBody>
      </p:sp>
      <p:sp>
        <p:nvSpPr>
          <p:cNvPr id="3" name="2 Marcador de fecha"/>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fld id="{0C65A8DC-A976-4EDB-8419-D2582938BA03}" type="datetimeFigureOut">
              <a:rPr lang="es-ES" altLang="es-CL"/>
              <a:pPr/>
              <a:t>07/01/2026</a:t>
            </a:fld>
            <a:endParaRPr lang="es-ES" altLang="es-CL"/>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s-ES" noProof="0"/>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lvl="4"/>
            <a:r>
              <a:rPr lang="es-ES" noProof="0"/>
              <a:t>Quinto nivel</a:t>
            </a:r>
          </a:p>
        </p:txBody>
      </p:sp>
      <p:sp>
        <p:nvSpPr>
          <p:cNvPr id="6" name="5 Marcador de pie de página"/>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eaLnBrk="1" hangingPunct="1">
              <a:defRPr sz="1200"/>
            </a:lvl1pPr>
          </a:lstStyle>
          <a:p>
            <a:endParaRPr lang="es-CL" altLang="es-CL"/>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D032C6C9-763A-4F85-A4EB-0AB9A6E13612}" type="slidenum">
              <a:rPr lang="es-ES" altLang="es-ES"/>
              <a:pPr/>
              <a:t>‹Nº›</a:t>
            </a:fld>
            <a:endParaRPr lang="es-ES" altLang="es-ES"/>
          </a:p>
        </p:txBody>
      </p:sp>
    </p:spTree>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a:p>
            <a:endParaRPr lang="en-US" dirty="0"/>
          </a:p>
        </p:txBody>
      </p:sp>
    </p:spTree>
    <p:extLst>
      <p:ext uri="{BB962C8B-B14F-4D97-AF65-F5344CB8AC3E}">
        <p14:creationId xmlns:p14="http://schemas.microsoft.com/office/powerpoint/2010/main" val="12963677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B0C11D-B9C6-D99E-E544-C93D4E406C1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186C87B-F488-647B-E6E5-4BEF7BFBEE7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C289F55-ADAE-6F71-8406-AE8D24BD1A93}"/>
              </a:ext>
            </a:extLst>
          </p:cNvPr>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4915769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48964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4F6597-C980-A582-AA8B-7C429C042D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83FDB6-A3DE-BC3D-EBE1-3E70CAB74F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033E52-BBF3-92EB-C74A-EE6724C2E8A6}"/>
              </a:ext>
            </a:extLst>
          </p:cNvPr>
          <p:cNvSpPr>
            <a:spLocks noGrp="1"/>
          </p:cNvSpPr>
          <p:nvPr>
            <p:ph type="body" idx="1"/>
          </p:nvPr>
        </p:nvSpPr>
        <p:spPr/>
        <p:txBody>
          <a:bodyPr/>
          <a:lstStyle/>
          <a:p>
            <a:r>
              <a:rPr lang="en-US" dirty="0" err="1"/>
              <a:t>Referencia</a:t>
            </a:r>
            <a:r>
              <a:rPr lang="en-US" dirty="0"/>
              <a:t> a la </a:t>
            </a:r>
            <a:r>
              <a:rPr lang="en-US" dirty="0" err="1"/>
              <a:t>Revolución</a:t>
            </a:r>
            <a:r>
              <a:rPr lang="en-US" dirty="0"/>
              <a:t> Industrial y </a:t>
            </a:r>
            <a:r>
              <a:rPr lang="en-US" dirty="0" err="1"/>
              <a:t>por</a:t>
            </a:r>
            <a:r>
              <a:rPr lang="en-US" dirty="0"/>
              <a:t> </a:t>
            </a:r>
            <a:r>
              <a:rPr lang="en-US" dirty="0" err="1"/>
              <a:t>qué</a:t>
            </a:r>
            <a:r>
              <a:rPr lang="en-US" dirty="0"/>
              <a:t> se </a:t>
            </a:r>
            <a:r>
              <a:rPr lang="en-US" dirty="0" err="1"/>
              <a:t>generó</a:t>
            </a:r>
            <a:r>
              <a:rPr lang="en-US" dirty="0"/>
              <a:t> </a:t>
            </a:r>
            <a:r>
              <a:rPr lang="en-US" dirty="0" err="1"/>
              <a:t>en</a:t>
            </a:r>
            <a:r>
              <a:rPr lang="en-US" dirty="0"/>
              <a:t> </a:t>
            </a:r>
            <a:r>
              <a:rPr lang="en-US" dirty="0" err="1"/>
              <a:t>Inglkaterra</a:t>
            </a:r>
            <a:r>
              <a:rPr lang="en-US" dirty="0"/>
              <a:t> y no </a:t>
            </a:r>
            <a:r>
              <a:rPr lang="en-US" dirty="0" err="1"/>
              <a:t>en</a:t>
            </a:r>
            <a:r>
              <a:rPr lang="en-US" dirty="0"/>
              <a:t> </a:t>
            </a:r>
            <a:r>
              <a:rPr lang="en-US" dirty="0" err="1"/>
              <a:t>otro</a:t>
            </a:r>
            <a:r>
              <a:rPr lang="en-US" dirty="0"/>
              <a:t> </a:t>
            </a:r>
            <a:r>
              <a:rPr lang="en-US" dirty="0" err="1"/>
              <a:t>lugar</a:t>
            </a:r>
            <a:endParaRPr lang="en-US" dirty="0"/>
          </a:p>
        </p:txBody>
      </p:sp>
    </p:spTree>
    <p:extLst>
      <p:ext uri="{BB962C8B-B14F-4D97-AF65-F5344CB8AC3E}">
        <p14:creationId xmlns:p14="http://schemas.microsoft.com/office/powerpoint/2010/main" val="16476772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AF1678-B526-CA02-A34B-B1222708B7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FE77BF-ECE5-B3CD-6265-34BC553B5D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F82A81-B17C-4CB2-C4A3-F091153EBA24}"/>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042680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Ejemplo de Canal de Atención de Reclamos</a:t>
            </a:r>
          </a:p>
        </p:txBody>
      </p:sp>
    </p:spTree>
    <p:extLst>
      <p:ext uri="{BB962C8B-B14F-4D97-AF65-F5344CB8AC3E}">
        <p14:creationId xmlns:p14="http://schemas.microsoft.com/office/powerpoint/2010/main" val="33637146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19C484-2094-2A52-2EF4-E401705AF60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5E7B17F-BC7E-9B74-6CBA-05584B9B5E1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C003E79-72DF-207A-A303-6DA24958AB99}"/>
              </a:ext>
            </a:extLst>
          </p:cNvPr>
          <p:cNvSpPr>
            <a:spLocks noGrp="1"/>
          </p:cNvSpPr>
          <p:nvPr>
            <p:ph type="body" idx="1"/>
          </p:nvPr>
        </p:nvSpPr>
        <p:spPr/>
        <p:txBody>
          <a:bodyPr/>
          <a:lstStyle/>
          <a:p>
            <a:r>
              <a:rPr lang="es-CL" dirty="0"/>
              <a:t>Ejemplo de Canal de Atención de Reclamos</a:t>
            </a:r>
          </a:p>
        </p:txBody>
      </p:sp>
    </p:spTree>
    <p:extLst>
      <p:ext uri="{BB962C8B-B14F-4D97-AF65-F5344CB8AC3E}">
        <p14:creationId xmlns:p14="http://schemas.microsoft.com/office/powerpoint/2010/main" val="11671586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19646694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29168836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F360E-E032-ADE8-2E18-66833CCAF3B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64CF59B-19A9-9FD8-A31D-6D5CA71A98D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5468FDE-2C94-A102-2E8F-FE62581C87EB}"/>
              </a:ext>
            </a:extLst>
          </p:cNvPr>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8002482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478182" y="802299"/>
            <a:ext cx="5536652" cy="2541431"/>
          </a:xfrm>
        </p:spPr>
        <p:txBody>
          <a:bodyPr bIns="0" anchor="b">
            <a:normAutofit/>
          </a:bodyPr>
          <a:lstStyle>
            <a:lvl1pPr algn="l">
              <a:defRPr sz="5400"/>
            </a:lvl1pPr>
          </a:lstStyle>
          <a:p>
            <a:r>
              <a:rPr lang="en-US"/>
              <a:t>Click to edit Master title style</a:t>
            </a:r>
            <a:endParaRPr lang="en-US" dirty="0"/>
          </a:p>
        </p:txBody>
      </p:sp>
      <p:sp>
        <p:nvSpPr>
          <p:cNvPr id="3" name="Subtitle 2"/>
          <p:cNvSpPr>
            <a:spLocks noGrp="1"/>
          </p:cNvSpPr>
          <p:nvPr>
            <p:ph type="subTitle" idx="1"/>
          </p:nvPr>
        </p:nvSpPr>
        <p:spPr>
          <a:xfrm>
            <a:off x="2478182" y="3531205"/>
            <a:ext cx="5536652" cy="977621"/>
          </a:xfrm>
        </p:spPr>
        <p:txBody>
          <a:bodyPr tIns="91440" bIns="91440">
            <a:normAutofit/>
          </a:bodyPr>
          <a:lstStyle>
            <a:lvl1pPr marL="0" indent="0" algn="l">
              <a:buNone/>
              <a:defRPr sz="1600" b="0" cap="all"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s-ES" altLang="es-CL"/>
          </a:p>
        </p:txBody>
      </p:sp>
      <p:sp>
        <p:nvSpPr>
          <p:cNvPr id="5" name="Footer Placeholder 4"/>
          <p:cNvSpPr>
            <a:spLocks noGrp="1"/>
          </p:cNvSpPr>
          <p:nvPr>
            <p:ph type="ftr" sz="quarter" idx="11"/>
          </p:nvPr>
        </p:nvSpPr>
        <p:spPr>
          <a:xfrm>
            <a:off x="2478181" y="329308"/>
            <a:ext cx="3004429" cy="309201"/>
          </a:xfrm>
        </p:spPr>
        <p:txBody>
          <a:bodyPr/>
          <a:lstStyle/>
          <a:p>
            <a:endParaRPr lang="es-CL" altLang="es-CL"/>
          </a:p>
        </p:txBody>
      </p:sp>
      <p:sp>
        <p:nvSpPr>
          <p:cNvPr id="6" name="Slide Number Placeholder 5"/>
          <p:cNvSpPr>
            <a:spLocks noGrp="1"/>
          </p:cNvSpPr>
          <p:nvPr>
            <p:ph type="sldNum" sz="quarter" idx="12"/>
          </p:nvPr>
        </p:nvSpPr>
        <p:spPr>
          <a:xfrm>
            <a:off x="1434703" y="798973"/>
            <a:ext cx="802005" cy="503578"/>
          </a:xfrm>
        </p:spPr>
        <p:txBody>
          <a:bodyPr/>
          <a:lstStyle/>
          <a:p>
            <a:fld id="{5FC05A1D-8743-4A39-8072-A7DB0BD2AD2B}" type="slidenum">
              <a:rPr lang="es-ES" altLang="es-ES" smtClean="0"/>
              <a:pPr/>
              <a:t>‹Nº›</a:t>
            </a:fld>
            <a:endParaRPr lang="es-ES" altLang="es-ES"/>
          </a:p>
        </p:txBody>
      </p:sp>
      <p:cxnSp>
        <p:nvCxnSpPr>
          <p:cNvPr id="8" name="Straight Connector 7"/>
          <p:cNvCxnSpPr/>
          <p:nvPr/>
        </p:nvCxnSpPr>
        <p:spPr>
          <a:xfrm>
            <a:off x="2316514" y="798973"/>
            <a:ext cx="0" cy="2544757"/>
          </a:xfrm>
          <a:prstGeom prst="line">
            <a:avLst/>
          </a:prstGeom>
          <a:ln w="38100" cmpd="sng">
            <a:solidFill>
              <a:schemeClr val="accent1"/>
            </a:solidFill>
            <a:prstDash val="solid"/>
            <a:tailEnd type="none"/>
          </a:ln>
        </p:spPr>
        <p:style>
          <a:lnRef idx="3">
            <a:schemeClr val="accent1"/>
          </a:lnRef>
          <a:fillRef idx="0">
            <a:schemeClr val="accent1"/>
          </a:fillRef>
          <a:effectRef idx="2">
            <a:schemeClr val="accent1"/>
          </a:effectRef>
          <a:fontRef idx="minor">
            <a:schemeClr val="tx1"/>
          </a:fontRef>
        </p:style>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s-ES" altLang="es-CL"/>
          </a:p>
        </p:txBody>
      </p:sp>
      <p:sp>
        <p:nvSpPr>
          <p:cNvPr id="5" name="Footer Placeholder 4"/>
          <p:cNvSpPr>
            <a:spLocks noGrp="1"/>
          </p:cNvSpPr>
          <p:nvPr>
            <p:ph type="ftr" sz="quarter" idx="11"/>
          </p:nvPr>
        </p:nvSpPr>
        <p:spPr/>
        <p:txBody>
          <a:bodyPr/>
          <a:lstStyle/>
          <a:p>
            <a:endParaRPr lang="es-CL" altLang="es-CL"/>
          </a:p>
        </p:txBody>
      </p:sp>
      <p:sp>
        <p:nvSpPr>
          <p:cNvPr id="6" name="Slide Number Placeholder 5"/>
          <p:cNvSpPr>
            <a:spLocks noGrp="1"/>
          </p:cNvSpPr>
          <p:nvPr>
            <p:ph type="sldNum" sz="quarter" idx="12"/>
          </p:nvPr>
        </p:nvSpPr>
        <p:spPr/>
        <p:txBody>
          <a:bodyPr/>
          <a:lstStyle/>
          <a:p>
            <a:fld id="{5FC05A1D-8743-4A39-8072-A7DB0BD2AD2B}" type="slidenum">
              <a:rPr lang="es-ES" altLang="es-ES" smtClean="0"/>
              <a:pPr/>
              <a:t>‹Nº›</a:t>
            </a:fld>
            <a:endParaRPr lang="es-ES" altLang="es-ES"/>
          </a:p>
        </p:txBody>
      </p:sp>
      <p:cxnSp>
        <p:nvCxnSpPr>
          <p:cNvPr id="8" name="Straight Connector 7"/>
          <p:cNvCxnSpPr/>
          <p:nvPr/>
        </p:nvCxnSpPr>
        <p:spPr>
          <a:xfrm>
            <a:off x="1371687" y="798973"/>
            <a:ext cx="0" cy="1067168"/>
          </a:xfrm>
          <a:prstGeom prst="line">
            <a:avLst/>
          </a:prstGeom>
          <a:ln w="38100" cmpd="sng">
            <a:solidFill>
              <a:schemeClr val="accent1"/>
            </a:solidFill>
            <a:prstDash val="solid"/>
            <a:tailEnd type="none"/>
          </a:ln>
        </p:spPr>
        <p:style>
          <a:lnRef idx="3">
            <a:schemeClr val="accent1"/>
          </a:lnRef>
          <a:fillRef idx="0">
            <a:schemeClr val="accent1"/>
          </a:fillRef>
          <a:effectRef idx="2">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18028" y="881269"/>
            <a:ext cx="1103027" cy="4577594"/>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1535413" y="881269"/>
            <a:ext cx="5209173" cy="457759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s-ES" altLang="es-CL"/>
          </a:p>
        </p:txBody>
      </p:sp>
      <p:sp>
        <p:nvSpPr>
          <p:cNvPr id="5" name="Footer Placeholder 4"/>
          <p:cNvSpPr>
            <a:spLocks noGrp="1"/>
          </p:cNvSpPr>
          <p:nvPr>
            <p:ph type="ftr" sz="quarter" idx="11"/>
          </p:nvPr>
        </p:nvSpPr>
        <p:spPr/>
        <p:txBody>
          <a:bodyPr/>
          <a:lstStyle/>
          <a:p>
            <a:endParaRPr lang="es-CL" altLang="es-CL"/>
          </a:p>
        </p:txBody>
      </p:sp>
      <p:sp>
        <p:nvSpPr>
          <p:cNvPr id="6" name="Slide Number Placeholder 5"/>
          <p:cNvSpPr>
            <a:spLocks noGrp="1"/>
          </p:cNvSpPr>
          <p:nvPr>
            <p:ph type="sldNum" sz="quarter" idx="12"/>
          </p:nvPr>
        </p:nvSpPr>
        <p:spPr/>
        <p:txBody>
          <a:bodyPr/>
          <a:lstStyle/>
          <a:p>
            <a:fld id="{5FC05A1D-8743-4A39-8072-A7DB0BD2AD2B}" type="slidenum">
              <a:rPr lang="es-ES" altLang="es-ES" smtClean="0"/>
              <a:pPr/>
              <a:t>‹Nº›</a:t>
            </a:fld>
            <a:endParaRPr lang="es-ES" altLang="es-ES"/>
          </a:p>
        </p:txBody>
      </p:sp>
      <p:cxnSp>
        <p:nvCxnSpPr>
          <p:cNvPr id="8" name="Straight Connector 7"/>
          <p:cNvCxnSpPr/>
          <p:nvPr/>
        </p:nvCxnSpPr>
        <p:spPr>
          <a:xfrm flipH="1">
            <a:off x="6918028" y="719273"/>
            <a:ext cx="1096806" cy="0"/>
          </a:xfrm>
          <a:prstGeom prst="line">
            <a:avLst/>
          </a:prstGeom>
          <a:ln w="38100" cmpd="sng">
            <a:solidFill>
              <a:schemeClr val="accent1"/>
            </a:solidFill>
            <a:prstDash val="solid"/>
            <a:tailEnd type="none"/>
          </a:ln>
        </p:spPr>
        <p:style>
          <a:lnRef idx="3">
            <a:schemeClr val="accent1"/>
          </a:lnRef>
          <a:fillRef idx="0">
            <a:schemeClr val="accent1"/>
          </a:fillRef>
          <a:effectRef idx="2">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apositiva de título">
    <p:spTree>
      <p:nvGrpSpPr>
        <p:cNvPr id="1" name=""/>
        <p:cNvGrpSpPr/>
        <p:nvPr/>
      </p:nvGrpSpPr>
      <p:grpSpPr>
        <a:xfrm>
          <a:off x="0" y="0"/>
          <a:ext cx="0" cy="0"/>
          <a:chOff x="0" y="0"/>
          <a:chExt cx="0" cy="0"/>
        </a:xfrm>
      </p:grpSpPr>
      <p:sp>
        <p:nvSpPr>
          <p:cNvPr id="3" name="2 Subtítulo"/>
          <p:cNvSpPr>
            <a:spLocks noGrp="1"/>
          </p:cNvSpPr>
          <p:nvPr>
            <p:ph type="subTitle" idx="1"/>
          </p:nvPr>
        </p:nvSpPr>
        <p:spPr>
          <a:xfrm>
            <a:off x="3203848" y="2204864"/>
            <a:ext cx="5184576" cy="2232248"/>
          </a:xfrm>
        </p:spPr>
        <p:txBody>
          <a:bodyPr>
            <a:normAutofit/>
          </a:bodyPr>
          <a:lstStyle>
            <a:lvl1pPr marL="0" indent="0" algn="ctr">
              <a:buNone/>
              <a:defRPr sz="2100" b="1">
                <a:solidFill>
                  <a:schemeClr val="tx1"/>
                </a:solidFill>
                <a:latin typeface="Lato" panose="020F0502020204030203"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s-ES" dirty="0"/>
              <a:t>Haga clic para modificar el estilo de subtítulo del patrón</a:t>
            </a:r>
          </a:p>
        </p:txBody>
      </p:sp>
    </p:spTree>
    <p:extLst>
      <p:ext uri="{BB962C8B-B14F-4D97-AF65-F5344CB8AC3E}">
        <p14:creationId xmlns:p14="http://schemas.microsoft.com/office/powerpoint/2010/main" val="8611737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p:nvCxnSpPr>
        <p:spPr>
          <a:xfrm>
            <a:off x="1371687" y="798973"/>
            <a:ext cx="0" cy="1067168"/>
          </a:xfrm>
          <a:prstGeom prst="line">
            <a:avLst/>
          </a:prstGeom>
          <a:ln w="38100" cmpd="sng">
            <a:solidFill>
              <a:schemeClr val="accent1"/>
            </a:solidFill>
            <a:prstDash val="solid"/>
            <a:tailEnd type="none"/>
          </a:ln>
        </p:spPr>
        <p:style>
          <a:lnRef idx="3">
            <a:schemeClr val="accent1"/>
          </a:lnRef>
          <a:fillRef idx="0">
            <a:schemeClr val="accent1"/>
          </a:fillRef>
          <a:effectRef idx="2">
            <a:schemeClr val="accent1"/>
          </a:effectRef>
          <a:fontRef idx="minor">
            <a:schemeClr val="tx1"/>
          </a:fontRef>
        </p:style>
      </p:cxnSp>
      <p:sp>
        <p:nvSpPr>
          <p:cNvPr id="7" name="Título 6"/>
          <p:cNvSpPr>
            <a:spLocks noGrp="1"/>
          </p:cNvSpPr>
          <p:nvPr>
            <p:ph type="title"/>
          </p:nvPr>
        </p:nvSpPr>
        <p:spPr/>
        <p:txBody>
          <a:bodyPr/>
          <a:lstStyle/>
          <a:p>
            <a:r>
              <a:rPr lang="es-ES"/>
              <a:t>Haga clic para modificar el estilo de título del patrón</a:t>
            </a:r>
            <a:endParaRPr lang="es-CL"/>
          </a:p>
        </p:txBody>
      </p:sp>
      <p:sp>
        <p:nvSpPr>
          <p:cNvPr id="12" name="Marcador de fecha 11"/>
          <p:cNvSpPr>
            <a:spLocks noGrp="1"/>
          </p:cNvSpPr>
          <p:nvPr>
            <p:ph type="dt" sz="half" idx="10"/>
          </p:nvPr>
        </p:nvSpPr>
        <p:spPr/>
        <p:txBody>
          <a:bodyPr/>
          <a:lstStyle/>
          <a:p>
            <a:endParaRPr lang="es-ES" altLang="es-CL"/>
          </a:p>
        </p:txBody>
      </p:sp>
      <p:sp>
        <p:nvSpPr>
          <p:cNvPr id="13" name="Marcador de pie de página 12"/>
          <p:cNvSpPr>
            <a:spLocks noGrp="1"/>
          </p:cNvSpPr>
          <p:nvPr>
            <p:ph type="ftr" sz="quarter" idx="11"/>
          </p:nvPr>
        </p:nvSpPr>
        <p:spPr/>
        <p:txBody>
          <a:bodyPr/>
          <a:lstStyle/>
          <a:p>
            <a:endParaRPr lang="es-CL" altLang="es-CL"/>
          </a:p>
        </p:txBody>
      </p:sp>
      <p:sp>
        <p:nvSpPr>
          <p:cNvPr id="14" name="Marcador de número de diapositiva 13"/>
          <p:cNvSpPr>
            <a:spLocks noGrp="1"/>
          </p:cNvSpPr>
          <p:nvPr>
            <p:ph type="sldNum" sz="quarter" idx="12"/>
          </p:nvPr>
        </p:nvSpPr>
        <p:spPr/>
        <p:txBody>
          <a:bodyPr/>
          <a:lstStyle/>
          <a:p>
            <a:fld id="{5FC05A1D-8743-4A39-8072-A7DB0BD2AD2B}" type="slidenum">
              <a:rPr lang="es-ES" altLang="es-ES" smtClean="0"/>
              <a:pPr/>
              <a:t>‹Nº›</a:t>
            </a:fld>
            <a:endParaRPr lang="es-ES" altLang="es-E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535411" y="1756130"/>
            <a:ext cx="5525081" cy="1887950"/>
          </a:xfrm>
        </p:spPr>
        <p:txBody>
          <a:bodyPr anchor="b">
            <a:normAutofit/>
          </a:bodyPr>
          <a:lstStyle>
            <a:lvl1pPr algn="l">
              <a:defRPr sz="3200"/>
            </a:lvl1pPr>
          </a:lstStyle>
          <a:p>
            <a:r>
              <a:rPr lang="en-US"/>
              <a:t>Click to edit Master title style</a:t>
            </a:r>
            <a:endParaRPr lang="en-US" dirty="0"/>
          </a:p>
        </p:txBody>
      </p:sp>
      <p:sp>
        <p:nvSpPr>
          <p:cNvPr id="3" name="Text Placeholder 2"/>
          <p:cNvSpPr>
            <a:spLocks noGrp="1"/>
          </p:cNvSpPr>
          <p:nvPr>
            <p:ph type="body" idx="1"/>
          </p:nvPr>
        </p:nvSpPr>
        <p:spPr>
          <a:xfrm>
            <a:off x="1535412" y="3806196"/>
            <a:ext cx="5525081" cy="1012929"/>
          </a:xfrm>
        </p:spPr>
        <p:txBody>
          <a:bodyPr tIns="91440">
            <a:normAutofit/>
          </a:bodyPr>
          <a:lstStyle>
            <a:lvl1pPr marL="0" indent="0" algn="l">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s-ES" altLang="es-CL"/>
          </a:p>
        </p:txBody>
      </p:sp>
      <p:sp>
        <p:nvSpPr>
          <p:cNvPr id="5" name="Footer Placeholder 4"/>
          <p:cNvSpPr>
            <a:spLocks noGrp="1"/>
          </p:cNvSpPr>
          <p:nvPr>
            <p:ph type="ftr" sz="quarter" idx="11"/>
          </p:nvPr>
        </p:nvSpPr>
        <p:spPr/>
        <p:txBody>
          <a:bodyPr/>
          <a:lstStyle/>
          <a:p>
            <a:endParaRPr lang="es-CL" altLang="es-CL"/>
          </a:p>
        </p:txBody>
      </p:sp>
      <p:sp>
        <p:nvSpPr>
          <p:cNvPr id="6" name="Slide Number Placeholder 5"/>
          <p:cNvSpPr>
            <a:spLocks noGrp="1"/>
          </p:cNvSpPr>
          <p:nvPr>
            <p:ph type="sldNum" sz="quarter" idx="12"/>
          </p:nvPr>
        </p:nvSpPr>
        <p:spPr/>
        <p:txBody>
          <a:bodyPr/>
          <a:lstStyle/>
          <a:p>
            <a:fld id="{5FC05A1D-8743-4A39-8072-A7DB0BD2AD2B}" type="slidenum">
              <a:rPr lang="es-ES" altLang="es-ES" smtClean="0"/>
              <a:pPr/>
              <a:t>‹Nº›</a:t>
            </a:fld>
            <a:endParaRPr lang="es-ES" altLang="es-ES"/>
          </a:p>
        </p:txBody>
      </p:sp>
      <p:cxnSp>
        <p:nvCxnSpPr>
          <p:cNvPr id="8" name="Straight Connector 7"/>
          <p:cNvCxnSpPr/>
          <p:nvPr/>
        </p:nvCxnSpPr>
        <p:spPr>
          <a:xfrm>
            <a:off x="1371687" y="798973"/>
            <a:ext cx="0" cy="2845107"/>
          </a:xfrm>
          <a:prstGeom prst="line">
            <a:avLst/>
          </a:prstGeom>
          <a:ln w="38100" cmpd="sng">
            <a:solidFill>
              <a:schemeClr val="accent1"/>
            </a:solidFill>
            <a:prstDash val="solid"/>
            <a:tailEnd type="none"/>
          </a:ln>
        </p:spPr>
        <p:style>
          <a:lnRef idx="3">
            <a:schemeClr val="accent1"/>
          </a:lnRef>
          <a:fillRef idx="0">
            <a:schemeClr val="accent1"/>
          </a:fillRef>
          <a:effectRef idx="2">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535413" y="804890"/>
            <a:ext cx="6479421" cy="1059305"/>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535412" y="2013936"/>
            <a:ext cx="3079690" cy="34375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935143" y="2013936"/>
            <a:ext cx="3079690" cy="3437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s-ES" altLang="es-CL"/>
          </a:p>
        </p:txBody>
      </p:sp>
      <p:sp>
        <p:nvSpPr>
          <p:cNvPr id="6" name="Footer Placeholder 5"/>
          <p:cNvSpPr>
            <a:spLocks noGrp="1"/>
          </p:cNvSpPr>
          <p:nvPr>
            <p:ph type="ftr" sz="quarter" idx="11"/>
          </p:nvPr>
        </p:nvSpPr>
        <p:spPr/>
        <p:txBody>
          <a:bodyPr/>
          <a:lstStyle/>
          <a:p>
            <a:endParaRPr lang="es-CL" altLang="es-CL"/>
          </a:p>
        </p:txBody>
      </p:sp>
      <p:sp>
        <p:nvSpPr>
          <p:cNvPr id="7" name="Slide Number Placeholder 6"/>
          <p:cNvSpPr>
            <a:spLocks noGrp="1"/>
          </p:cNvSpPr>
          <p:nvPr>
            <p:ph type="sldNum" sz="quarter" idx="12"/>
          </p:nvPr>
        </p:nvSpPr>
        <p:spPr/>
        <p:txBody>
          <a:bodyPr/>
          <a:lstStyle/>
          <a:p>
            <a:fld id="{5FC05A1D-8743-4A39-8072-A7DB0BD2AD2B}" type="slidenum">
              <a:rPr lang="es-ES" altLang="es-ES" smtClean="0"/>
              <a:pPr/>
              <a:t>‹Nº›</a:t>
            </a:fld>
            <a:endParaRPr lang="es-ES" altLang="es-ES"/>
          </a:p>
        </p:txBody>
      </p:sp>
      <p:cxnSp>
        <p:nvCxnSpPr>
          <p:cNvPr id="9" name="Straight Connector 8"/>
          <p:cNvCxnSpPr/>
          <p:nvPr/>
        </p:nvCxnSpPr>
        <p:spPr>
          <a:xfrm>
            <a:off x="1371687" y="798973"/>
            <a:ext cx="0" cy="1067168"/>
          </a:xfrm>
          <a:prstGeom prst="line">
            <a:avLst/>
          </a:prstGeom>
          <a:ln w="38100" cmpd="sng">
            <a:solidFill>
              <a:schemeClr val="accent1"/>
            </a:solidFill>
            <a:prstDash val="solid"/>
            <a:tailEnd type="none"/>
          </a:ln>
        </p:spPr>
        <p:style>
          <a:lnRef idx="3">
            <a:schemeClr val="accent1"/>
          </a:lnRef>
          <a:fillRef idx="0">
            <a:schemeClr val="accent1"/>
          </a:fillRef>
          <a:effectRef idx="2">
            <a:schemeClr val="accent1"/>
          </a:effectRef>
          <a:fontRef idx="minor">
            <a:schemeClr val="tx1"/>
          </a:fontRef>
        </p:style>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535413" y="804164"/>
            <a:ext cx="6479422" cy="1056319"/>
          </a:xfrm>
        </p:spPr>
        <p:txBody>
          <a:bodyPr/>
          <a:lstStyle/>
          <a:p>
            <a:r>
              <a:rPr lang="en-US"/>
              <a:t>Click to edit Master title style</a:t>
            </a:r>
            <a:endParaRPr lang="en-US" dirty="0"/>
          </a:p>
        </p:txBody>
      </p:sp>
      <p:sp>
        <p:nvSpPr>
          <p:cNvPr id="3" name="Text Placeholder 2"/>
          <p:cNvSpPr>
            <a:spLocks noGrp="1"/>
          </p:cNvSpPr>
          <p:nvPr>
            <p:ph type="body" idx="1"/>
          </p:nvPr>
        </p:nvSpPr>
        <p:spPr>
          <a:xfrm>
            <a:off x="1535413" y="2019550"/>
            <a:ext cx="3079690" cy="801943"/>
          </a:xfrm>
        </p:spPr>
        <p:txBody>
          <a:bodyPr anchor="b">
            <a:normAutofit/>
          </a:bodyPr>
          <a:lstStyle>
            <a:lvl1pPr marL="0" indent="0">
              <a:lnSpc>
                <a:spcPct val="100000"/>
              </a:lnSpc>
              <a:buNone/>
              <a:defRPr sz="22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1535413" y="2824270"/>
            <a:ext cx="3079690" cy="26444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935142" y="2023004"/>
            <a:ext cx="3079691" cy="802237"/>
          </a:xfrm>
        </p:spPr>
        <p:txBody>
          <a:bodyPr anchor="b">
            <a:normAutofit/>
          </a:bodyPr>
          <a:lstStyle>
            <a:lvl1pPr marL="0" indent="0">
              <a:lnSpc>
                <a:spcPct val="100000"/>
              </a:lnSpc>
              <a:buNone/>
              <a:defRPr sz="22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935142" y="2821491"/>
            <a:ext cx="3079691" cy="26373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s-ES" altLang="es-CL"/>
          </a:p>
        </p:txBody>
      </p:sp>
      <p:sp>
        <p:nvSpPr>
          <p:cNvPr id="8" name="Footer Placeholder 7"/>
          <p:cNvSpPr>
            <a:spLocks noGrp="1"/>
          </p:cNvSpPr>
          <p:nvPr>
            <p:ph type="ftr" sz="quarter" idx="11"/>
          </p:nvPr>
        </p:nvSpPr>
        <p:spPr/>
        <p:txBody>
          <a:bodyPr/>
          <a:lstStyle/>
          <a:p>
            <a:endParaRPr lang="es-CL" altLang="es-CL"/>
          </a:p>
        </p:txBody>
      </p:sp>
      <p:sp>
        <p:nvSpPr>
          <p:cNvPr id="9" name="Slide Number Placeholder 8"/>
          <p:cNvSpPr>
            <a:spLocks noGrp="1"/>
          </p:cNvSpPr>
          <p:nvPr>
            <p:ph type="sldNum" sz="quarter" idx="12"/>
          </p:nvPr>
        </p:nvSpPr>
        <p:spPr/>
        <p:txBody>
          <a:bodyPr/>
          <a:lstStyle/>
          <a:p>
            <a:fld id="{5FC05A1D-8743-4A39-8072-A7DB0BD2AD2B}" type="slidenum">
              <a:rPr lang="es-ES" altLang="es-ES" smtClean="0"/>
              <a:pPr/>
              <a:t>‹Nº›</a:t>
            </a:fld>
            <a:endParaRPr lang="es-ES" altLang="es-ES"/>
          </a:p>
        </p:txBody>
      </p:sp>
      <p:cxnSp>
        <p:nvCxnSpPr>
          <p:cNvPr id="11" name="Straight Connector 10"/>
          <p:cNvCxnSpPr/>
          <p:nvPr/>
        </p:nvCxnSpPr>
        <p:spPr>
          <a:xfrm>
            <a:off x="1371687" y="798973"/>
            <a:ext cx="0" cy="1067168"/>
          </a:xfrm>
          <a:prstGeom prst="line">
            <a:avLst/>
          </a:prstGeom>
          <a:ln w="38100" cmpd="sng">
            <a:solidFill>
              <a:schemeClr val="accent1"/>
            </a:solidFill>
            <a:prstDash val="solid"/>
            <a:tailEnd type="none"/>
          </a:ln>
        </p:spPr>
        <p:style>
          <a:lnRef idx="3">
            <a:schemeClr val="accent1"/>
          </a:lnRef>
          <a:fillRef idx="0">
            <a:schemeClr val="accent1"/>
          </a:fillRef>
          <a:effectRef idx="2">
            <a:schemeClr val="accent1"/>
          </a:effectRef>
          <a:fontRef idx="minor">
            <a:schemeClr val="tx1"/>
          </a:fontRef>
        </p:style>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s-ES" altLang="es-CL"/>
          </a:p>
        </p:txBody>
      </p:sp>
      <p:sp>
        <p:nvSpPr>
          <p:cNvPr id="4" name="Footer Placeholder 3"/>
          <p:cNvSpPr>
            <a:spLocks noGrp="1"/>
          </p:cNvSpPr>
          <p:nvPr>
            <p:ph type="ftr" sz="quarter" idx="11"/>
          </p:nvPr>
        </p:nvSpPr>
        <p:spPr/>
        <p:txBody>
          <a:bodyPr/>
          <a:lstStyle/>
          <a:p>
            <a:endParaRPr lang="es-CL" altLang="es-CL"/>
          </a:p>
        </p:txBody>
      </p:sp>
      <p:sp>
        <p:nvSpPr>
          <p:cNvPr id="5" name="Slide Number Placeholder 4"/>
          <p:cNvSpPr>
            <a:spLocks noGrp="1"/>
          </p:cNvSpPr>
          <p:nvPr>
            <p:ph type="sldNum" sz="quarter" idx="12"/>
          </p:nvPr>
        </p:nvSpPr>
        <p:spPr/>
        <p:txBody>
          <a:bodyPr/>
          <a:lstStyle/>
          <a:p>
            <a:fld id="{5FC05A1D-8743-4A39-8072-A7DB0BD2AD2B}" type="slidenum">
              <a:rPr lang="es-ES" altLang="es-ES" smtClean="0"/>
              <a:pPr/>
              <a:t>‹Nº›</a:t>
            </a:fld>
            <a:endParaRPr lang="es-ES" altLang="es-ES"/>
          </a:p>
        </p:txBody>
      </p:sp>
      <p:cxnSp>
        <p:nvCxnSpPr>
          <p:cNvPr id="7" name="Straight Connector 6"/>
          <p:cNvCxnSpPr/>
          <p:nvPr/>
        </p:nvCxnSpPr>
        <p:spPr>
          <a:xfrm>
            <a:off x="1371687" y="798973"/>
            <a:ext cx="0" cy="1067168"/>
          </a:xfrm>
          <a:prstGeom prst="line">
            <a:avLst/>
          </a:prstGeom>
          <a:ln w="38100" cmpd="sng">
            <a:solidFill>
              <a:schemeClr val="accent1"/>
            </a:solidFill>
            <a:prstDash val="solid"/>
            <a:tailEnd type="none"/>
          </a:ln>
        </p:spPr>
        <p:style>
          <a:lnRef idx="3">
            <a:schemeClr val="accent1"/>
          </a:lnRef>
          <a:fillRef idx="0">
            <a:schemeClr val="accent1"/>
          </a:fillRef>
          <a:effectRef idx="2">
            <a:schemeClr val="accent1"/>
          </a:effectRef>
          <a:fontRef idx="minor">
            <a:schemeClr val="tx1"/>
          </a:fontRef>
        </p:style>
      </p:cxn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s-ES" altLang="es-CL"/>
          </a:p>
        </p:txBody>
      </p:sp>
      <p:sp>
        <p:nvSpPr>
          <p:cNvPr id="3" name="Footer Placeholder 2"/>
          <p:cNvSpPr>
            <a:spLocks noGrp="1"/>
          </p:cNvSpPr>
          <p:nvPr>
            <p:ph type="ftr" sz="quarter" idx="11"/>
          </p:nvPr>
        </p:nvSpPr>
        <p:spPr/>
        <p:txBody>
          <a:bodyPr/>
          <a:lstStyle/>
          <a:p>
            <a:endParaRPr lang="es-CL" altLang="es-CL"/>
          </a:p>
        </p:txBody>
      </p:sp>
      <p:sp>
        <p:nvSpPr>
          <p:cNvPr id="4" name="Slide Number Placeholder 3"/>
          <p:cNvSpPr>
            <a:spLocks noGrp="1"/>
          </p:cNvSpPr>
          <p:nvPr>
            <p:ph type="sldNum" sz="quarter" idx="12"/>
          </p:nvPr>
        </p:nvSpPr>
        <p:spPr>
          <a:xfrm>
            <a:off x="8014834" y="6237312"/>
            <a:ext cx="795746" cy="503578"/>
          </a:xfrm>
        </p:spPr>
        <p:txBody>
          <a:bodyPr/>
          <a:lstStyle/>
          <a:p>
            <a:fld id="{5FC05A1D-8743-4A39-8072-A7DB0BD2AD2B}" type="slidenum">
              <a:rPr lang="es-ES" altLang="es-ES" smtClean="0"/>
              <a:pPr/>
              <a:t>‹Nº›</a:t>
            </a:fld>
            <a:endParaRPr lang="es-ES" altLang="es-E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535356" y="798973"/>
            <a:ext cx="2329635" cy="2247117"/>
          </a:xfrm>
        </p:spPr>
        <p:txBody>
          <a:bodyPr anchor="b">
            <a:normAutofit/>
          </a:bodyPr>
          <a:lstStyle>
            <a:lvl1pPr algn="l">
              <a:defRPr sz="2400"/>
            </a:lvl1pPr>
          </a:lstStyle>
          <a:p>
            <a:r>
              <a:rPr lang="en-US"/>
              <a:t>Click to edit Master title style</a:t>
            </a:r>
            <a:endParaRPr lang="en-US" dirty="0"/>
          </a:p>
        </p:txBody>
      </p:sp>
      <p:sp>
        <p:nvSpPr>
          <p:cNvPr id="3" name="Content Placeholder 2"/>
          <p:cNvSpPr>
            <a:spLocks noGrp="1"/>
          </p:cNvSpPr>
          <p:nvPr>
            <p:ph idx="1"/>
          </p:nvPr>
        </p:nvSpPr>
        <p:spPr>
          <a:xfrm>
            <a:off x="4186656" y="798974"/>
            <a:ext cx="3828178" cy="4658826"/>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535413" y="3205492"/>
            <a:ext cx="2330998" cy="2248181"/>
          </a:xfrm>
        </p:spPr>
        <p:txBody>
          <a:bodyPr>
            <a:normAutofit/>
          </a:bodyPr>
          <a:lstStyle>
            <a:lvl1pPr marL="0" indent="0" algn="l">
              <a:buNone/>
              <a:defRPr sz="16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s-ES" altLang="es-CL"/>
          </a:p>
        </p:txBody>
      </p:sp>
      <p:sp>
        <p:nvSpPr>
          <p:cNvPr id="6" name="Footer Placeholder 5"/>
          <p:cNvSpPr>
            <a:spLocks noGrp="1"/>
          </p:cNvSpPr>
          <p:nvPr>
            <p:ph type="ftr" sz="quarter" idx="11"/>
          </p:nvPr>
        </p:nvSpPr>
        <p:spPr/>
        <p:txBody>
          <a:bodyPr/>
          <a:lstStyle/>
          <a:p>
            <a:endParaRPr lang="es-CL" altLang="es-CL"/>
          </a:p>
        </p:txBody>
      </p:sp>
      <p:sp>
        <p:nvSpPr>
          <p:cNvPr id="7" name="Slide Number Placeholder 6"/>
          <p:cNvSpPr>
            <a:spLocks noGrp="1"/>
          </p:cNvSpPr>
          <p:nvPr>
            <p:ph type="sldNum" sz="quarter" idx="12"/>
          </p:nvPr>
        </p:nvSpPr>
        <p:spPr/>
        <p:txBody>
          <a:bodyPr/>
          <a:lstStyle/>
          <a:p>
            <a:fld id="{5FC05A1D-8743-4A39-8072-A7DB0BD2AD2B}" type="slidenum">
              <a:rPr lang="es-ES" altLang="es-ES" smtClean="0"/>
              <a:pPr/>
              <a:t>‹Nº›</a:t>
            </a:fld>
            <a:endParaRPr lang="es-ES" altLang="es-ES"/>
          </a:p>
        </p:txBody>
      </p:sp>
      <p:cxnSp>
        <p:nvCxnSpPr>
          <p:cNvPr id="9" name="Straight Connector 8"/>
          <p:cNvCxnSpPr/>
          <p:nvPr/>
        </p:nvCxnSpPr>
        <p:spPr>
          <a:xfrm>
            <a:off x="1371687" y="798973"/>
            <a:ext cx="0" cy="2247117"/>
          </a:xfrm>
          <a:prstGeom prst="line">
            <a:avLst/>
          </a:prstGeom>
          <a:ln w="38100" cmpd="sng">
            <a:solidFill>
              <a:schemeClr val="accent1"/>
            </a:solidFill>
            <a:prstDash val="solid"/>
            <a:tailEnd type="none"/>
          </a:ln>
        </p:spPr>
        <p:style>
          <a:lnRef idx="3">
            <a:schemeClr val="accent1"/>
          </a:lnRef>
          <a:fillRef idx="0">
            <a:schemeClr val="accent1"/>
          </a:fillRef>
          <a:effectRef idx="2">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pSp>
        <p:nvGrpSpPr>
          <p:cNvPr id="9" name="Group 8"/>
          <p:cNvGrpSpPr/>
          <p:nvPr/>
        </p:nvGrpSpPr>
        <p:grpSpPr>
          <a:xfrm>
            <a:off x="4996501" y="482171"/>
            <a:ext cx="3511387" cy="5149101"/>
            <a:chOff x="4996501" y="482171"/>
            <a:chExt cx="3511387" cy="5149101"/>
          </a:xfrm>
        </p:grpSpPr>
        <p:sp>
          <p:nvSpPr>
            <p:cNvPr id="14" name="Rectangle 13"/>
            <p:cNvSpPr/>
            <p:nvPr/>
          </p:nvSpPr>
          <p:spPr>
            <a:xfrm>
              <a:off x="4996501" y="482171"/>
              <a:ext cx="3511387" cy="5149101"/>
            </a:xfrm>
            <a:prstGeom prst="rect">
              <a:avLst/>
            </a:prstGeom>
            <a:gradFill>
              <a:gsLst>
                <a:gs pos="0">
                  <a:schemeClr val="bg2">
                    <a:lumMod val="10000"/>
                  </a:schemeClr>
                </a:gs>
                <a:gs pos="100000">
                  <a:schemeClr val="bg2">
                    <a:lumMod val="10000"/>
                  </a:schemeClr>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prstMaterial="matte">
              <a:bevelT w="133350" h="50800" prst="divot"/>
            </a:sp3d>
          </p:spPr>
          <p:style>
            <a:lnRef idx="1">
              <a:schemeClr val="accent1"/>
            </a:lnRef>
            <a:fillRef idx="3">
              <a:schemeClr val="accent1"/>
            </a:fillRef>
            <a:effectRef idx="2">
              <a:schemeClr val="accent1"/>
            </a:effectRef>
            <a:fontRef idx="minor">
              <a:schemeClr val="lt1"/>
            </a:fontRef>
          </p:style>
        </p:sp>
        <p:sp>
          <p:nvSpPr>
            <p:cNvPr id="15" name="Rectangle 14"/>
            <p:cNvSpPr/>
            <p:nvPr/>
          </p:nvSpPr>
          <p:spPr>
            <a:xfrm>
              <a:off x="5312152" y="812506"/>
              <a:ext cx="2883013" cy="4479361"/>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title"/>
          </p:nvPr>
        </p:nvSpPr>
        <p:spPr>
          <a:xfrm>
            <a:off x="1536201" y="1129513"/>
            <a:ext cx="3152882" cy="1830584"/>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640128" y="1122543"/>
            <a:ext cx="2234998" cy="3866327"/>
          </a:xfrm>
          <a:solidFill>
            <a:schemeClr val="bg1">
              <a:lumMod val="85000"/>
            </a:schemeClr>
          </a:solidFill>
          <a:ln w="9525" cap="sq">
            <a:noFill/>
            <a:miter lim="800000"/>
          </a:ln>
          <a:effectLst/>
        </p:spPr>
        <p:txBody>
          <a:bodyPr anchor="t"/>
          <a:lstStyle>
            <a:lvl1pPr marL="0" indent="0" algn="ctr">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Drag picture to placeholder or click icon to add</a:t>
            </a:r>
            <a:endParaRPr lang="en-US" dirty="0"/>
          </a:p>
        </p:txBody>
      </p:sp>
      <p:sp>
        <p:nvSpPr>
          <p:cNvPr id="4" name="Text Placeholder 3"/>
          <p:cNvSpPr>
            <a:spLocks noGrp="1"/>
          </p:cNvSpPr>
          <p:nvPr>
            <p:ph type="body" sz="half" idx="2"/>
          </p:nvPr>
        </p:nvSpPr>
        <p:spPr>
          <a:xfrm>
            <a:off x="1535412" y="3145992"/>
            <a:ext cx="3148365" cy="2003742"/>
          </a:xfrm>
        </p:spPr>
        <p:txBody>
          <a:bodyPr>
            <a:normAutofit/>
          </a:bodyPr>
          <a:lstStyle>
            <a:lvl1pPr marL="0" indent="0" algn="l">
              <a:buNone/>
              <a:defRPr sz="18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a:xfrm>
            <a:off x="1535412" y="5469857"/>
            <a:ext cx="3153672" cy="320123"/>
          </a:xfrm>
        </p:spPr>
        <p:txBody>
          <a:bodyPr/>
          <a:lstStyle>
            <a:lvl1pPr algn="l">
              <a:defRPr/>
            </a:lvl1pPr>
          </a:lstStyle>
          <a:p>
            <a:endParaRPr lang="es-ES" altLang="es-CL"/>
          </a:p>
        </p:txBody>
      </p:sp>
      <p:sp>
        <p:nvSpPr>
          <p:cNvPr id="6" name="Footer Placeholder 5"/>
          <p:cNvSpPr>
            <a:spLocks noGrp="1"/>
          </p:cNvSpPr>
          <p:nvPr>
            <p:ph type="ftr" sz="quarter" idx="11"/>
          </p:nvPr>
        </p:nvSpPr>
        <p:spPr>
          <a:xfrm>
            <a:off x="1536252" y="318641"/>
            <a:ext cx="3152831" cy="320931"/>
          </a:xfrm>
        </p:spPr>
        <p:txBody>
          <a:bodyPr/>
          <a:lstStyle/>
          <a:p>
            <a:endParaRPr lang="en-US" dirty="0"/>
          </a:p>
        </p:txBody>
      </p:sp>
      <p:sp>
        <p:nvSpPr>
          <p:cNvPr id="7" name="Slide Number Placeholder 6"/>
          <p:cNvSpPr>
            <a:spLocks noGrp="1"/>
          </p:cNvSpPr>
          <p:nvPr>
            <p:ph type="sldNum" sz="quarter" idx="12"/>
          </p:nvPr>
        </p:nvSpPr>
        <p:spPr/>
        <p:txBody>
          <a:bodyPr/>
          <a:lstStyle/>
          <a:p>
            <a:fld id="{5FC05A1D-8743-4A39-8072-A7DB0BD2AD2B}" type="slidenum">
              <a:rPr lang="es-ES" altLang="es-ES" smtClean="0"/>
              <a:pPr/>
              <a:t>‹Nº›</a:t>
            </a:fld>
            <a:endParaRPr lang="es-ES" altLang="es-ES"/>
          </a:p>
        </p:txBody>
      </p:sp>
      <p:cxnSp>
        <p:nvCxnSpPr>
          <p:cNvPr id="12" name="Straight Connector 11"/>
          <p:cNvCxnSpPr/>
          <p:nvPr/>
        </p:nvCxnSpPr>
        <p:spPr>
          <a:xfrm>
            <a:off x="1371687" y="798973"/>
            <a:ext cx="0" cy="2161124"/>
          </a:xfrm>
          <a:prstGeom prst="line">
            <a:avLst/>
          </a:prstGeom>
          <a:ln w="38100" cmpd="sng">
            <a:solidFill>
              <a:schemeClr val="accent1"/>
            </a:solidFill>
            <a:prstDash val="solid"/>
            <a:tailEnd type="none"/>
          </a:ln>
        </p:spPr>
        <p:style>
          <a:lnRef idx="3">
            <a:schemeClr val="accent1"/>
          </a:lnRef>
          <a:fillRef idx="0">
            <a:schemeClr val="accent1"/>
          </a:fillRef>
          <a:effectRef idx="2">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jp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BE2F302-4822-A77D-3CDB-99F9A16B8ED2}"/>
              </a:ext>
            </a:extLst>
          </p:cNvPr>
          <p:cNvGraphicFramePr>
            <a:graphicFrameLocks noChangeAspect="1"/>
          </p:cNvGraphicFramePr>
          <p:nvPr userDrawn="1">
            <p:custDataLst>
              <p:tags r:id="rId14"/>
            </p:custDataLst>
            <p:extLst>
              <p:ext uri="{D42A27DB-BD31-4B8C-83A1-F6EECF244321}">
                <p14:modId xmlns:p14="http://schemas.microsoft.com/office/powerpoint/2010/main" val="3398954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5" imgW="233" imgH="233" progId="TCLayout.ActiveDocument.1">
                  <p:embed/>
                </p:oleObj>
              </mc:Choice>
              <mc:Fallback>
                <p:oleObj name="Diapositiva de think-cell" r:id="rId15" imgW="233" imgH="233" progId="TCLayout.ActiveDocument.1">
                  <p:embed/>
                  <p:pic>
                    <p:nvPicPr>
                      <p:cNvPr id="9" name="think-cell data - do not delete" hidden="1">
                        <a:extLst>
                          <a:ext uri="{FF2B5EF4-FFF2-40B4-BE49-F238E27FC236}">
                            <a16:creationId xmlns:a16="http://schemas.microsoft.com/office/drawing/2014/main" id="{BBE2F302-4822-A77D-3CDB-99F9A16B8ED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0" name="Rectangle 9"/>
          <p:cNvSpPr/>
          <p:nvPr/>
        </p:nvSpPr>
        <p:spPr>
          <a:xfrm>
            <a:off x="0" y="2015734"/>
            <a:ext cx="9144000" cy="4147322"/>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s-CL"/>
          </a:p>
        </p:txBody>
      </p:sp>
      <p:pic>
        <p:nvPicPr>
          <p:cNvPr id="7" name="Picture 6"/>
          <p:cNvPicPr>
            <a:picLocks noChangeAspect="1"/>
          </p:cNvPicPr>
          <p:nvPr/>
        </p:nvPicPr>
        <p:blipFill rotWithShape="1">
          <a:blip r:embed="rId17"/>
          <a:srcRect t="2873" b="-2873"/>
          <a:stretch/>
        </p:blipFill>
        <p:spPr>
          <a:xfrm>
            <a:off x="0" y="6163056"/>
            <a:ext cx="9144000" cy="715502"/>
          </a:xfrm>
          <a:prstGeom prst="rect">
            <a:avLst/>
          </a:prstGeom>
        </p:spPr>
      </p:pic>
      <p:sp>
        <p:nvSpPr>
          <p:cNvPr id="2" name="Title Placeholder 1"/>
          <p:cNvSpPr>
            <a:spLocks noGrp="1"/>
          </p:cNvSpPr>
          <p:nvPr>
            <p:ph type="title"/>
          </p:nvPr>
        </p:nvSpPr>
        <p:spPr>
          <a:xfrm>
            <a:off x="1535413" y="804520"/>
            <a:ext cx="6479421" cy="1049235"/>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535413" y="2015733"/>
            <a:ext cx="6479421" cy="345061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5646542" y="330370"/>
            <a:ext cx="2368292" cy="309201"/>
          </a:xfrm>
          <a:prstGeom prst="rect">
            <a:avLst/>
          </a:prstGeom>
        </p:spPr>
        <p:txBody>
          <a:bodyPr vert="horz" lIns="91440" tIns="45720" rIns="91440" bIns="45720" rtlCol="0" anchor="ctr"/>
          <a:lstStyle>
            <a:lvl1pPr algn="r">
              <a:defRPr sz="1000">
                <a:solidFill>
                  <a:schemeClr val="tx1">
                    <a:tint val="75000"/>
                  </a:schemeClr>
                </a:solidFill>
              </a:defRPr>
            </a:lvl1pPr>
          </a:lstStyle>
          <a:p>
            <a:endParaRPr lang="es-ES" altLang="es-CL"/>
          </a:p>
        </p:txBody>
      </p:sp>
      <p:sp>
        <p:nvSpPr>
          <p:cNvPr id="5" name="Footer Placeholder 4"/>
          <p:cNvSpPr>
            <a:spLocks noGrp="1"/>
          </p:cNvSpPr>
          <p:nvPr>
            <p:ph type="ftr" sz="quarter" idx="3"/>
          </p:nvPr>
        </p:nvSpPr>
        <p:spPr>
          <a:xfrm>
            <a:off x="1535413" y="329308"/>
            <a:ext cx="3942082" cy="30920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s-CL" altLang="es-CL"/>
          </a:p>
        </p:txBody>
      </p:sp>
      <p:sp>
        <p:nvSpPr>
          <p:cNvPr id="6" name="Slide Number Placeholder 5"/>
          <p:cNvSpPr>
            <a:spLocks noGrp="1"/>
          </p:cNvSpPr>
          <p:nvPr>
            <p:ph type="sldNum" sz="quarter" idx="4"/>
          </p:nvPr>
        </p:nvSpPr>
        <p:spPr>
          <a:xfrm>
            <a:off x="487725" y="798973"/>
            <a:ext cx="795746" cy="503578"/>
          </a:xfrm>
          <a:prstGeom prst="rect">
            <a:avLst/>
          </a:prstGeom>
        </p:spPr>
        <p:txBody>
          <a:bodyPr vert="horz" lIns="91440" tIns="45720" rIns="91440" bIns="45720" rtlCol="0" anchor="t"/>
          <a:lstStyle>
            <a:lvl1pPr algn="r">
              <a:defRPr sz="2800">
                <a:solidFill>
                  <a:schemeClr val="accent1"/>
                </a:solidFill>
              </a:defRPr>
            </a:lvl1pPr>
          </a:lstStyle>
          <a:p>
            <a:fld id="{5FC05A1D-8743-4A39-8072-A7DB0BD2AD2B}" type="slidenum">
              <a:rPr lang="es-ES" altLang="es-ES" smtClean="0"/>
              <a:pPr/>
              <a:t>‹Nº›</a:t>
            </a:fld>
            <a:endParaRPr lang="es-ES" altLang="es-ES"/>
          </a:p>
        </p:txBody>
      </p:sp>
      <p:cxnSp>
        <p:nvCxnSpPr>
          <p:cNvPr id="12" name="Straight Connector 11"/>
          <p:cNvCxnSpPr/>
          <p:nvPr/>
        </p:nvCxnSpPr>
        <p:spPr>
          <a:xfrm>
            <a:off x="0" y="6171272"/>
            <a:ext cx="9144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148999"/>
      </p:ext>
    </p:extLst>
  </p:cSld>
  <p:clrMap bg1="lt1" tx1="dk1" bg2="lt2" tx2="dk2" accent1="accent1" accent2="accent2" accent3="accent3" accent4="accent4" accent5="accent5" accent6="accent6" hlink="hlink" folHlink="folHlink"/>
  <p:sldLayoutIdLst>
    <p:sldLayoutId id="2147484328" r:id="rId1"/>
    <p:sldLayoutId id="2147484329" r:id="rId2"/>
    <p:sldLayoutId id="2147484330" r:id="rId3"/>
    <p:sldLayoutId id="2147484331" r:id="rId4"/>
    <p:sldLayoutId id="2147484332" r:id="rId5"/>
    <p:sldLayoutId id="2147484333" r:id="rId6"/>
    <p:sldLayoutId id="2147484334" r:id="rId7"/>
    <p:sldLayoutId id="2147484335" r:id="rId8"/>
    <p:sldLayoutId id="2147484336" r:id="rId9"/>
    <p:sldLayoutId id="2147484337" r:id="rId10"/>
    <p:sldLayoutId id="2147484338" r:id="rId11"/>
    <p:sldLayoutId id="2147484339" r:id="rId12"/>
  </p:sldLayoutIdLst>
  <p:hf sldNum="0" hdr="0" ftr="0" dt="0"/>
  <p:txStyles>
    <p:titleStyle>
      <a:lvl1pPr algn="l" defTabSz="685800" rtl="0" eaLnBrk="1" latinLnBrk="0" hangingPunct="1">
        <a:lnSpc>
          <a:spcPct val="90000"/>
        </a:lnSpc>
        <a:spcBef>
          <a:spcPct val="0"/>
        </a:spcBef>
        <a:buNone/>
        <a:defRPr sz="3200" b="0" i="0" kern="1200" cap="none">
          <a:solidFill>
            <a:schemeClr val="tx1"/>
          </a:solidFill>
          <a:effectLst/>
          <a:latin typeface="+mj-lt"/>
          <a:ea typeface="+mj-ea"/>
          <a:cs typeface="+mj-cs"/>
        </a:defRPr>
      </a:lvl1pPr>
    </p:titleStyle>
    <p:bodyStyle>
      <a:lvl1pPr marL="228600" indent="-228600" algn="l" defTabSz="685800" rtl="0" eaLnBrk="1" latinLnBrk="0" hangingPunct="1">
        <a:lnSpc>
          <a:spcPct val="120000"/>
        </a:lnSpc>
        <a:spcBef>
          <a:spcPts val="1000"/>
        </a:spcBef>
        <a:buClr>
          <a:schemeClr val="accent1"/>
        </a:buClr>
        <a:buSzPct val="100000"/>
        <a:buFont typeface="Arial" panose="020B0604020202020204" pitchFamily="34" charset="0"/>
        <a:buChar char="•"/>
        <a:defRPr sz="2000" kern="1200" cap="none">
          <a:solidFill>
            <a:schemeClr val="tx1"/>
          </a:solidFill>
          <a:effectLst/>
          <a:latin typeface="+mn-lt"/>
          <a:ea typeface="+mn-ea"/>
          <a:cs typeface="+mn-cs"/>
        </a:defRPr>
      </a:lvl1pPr>
      <a:lvl2pPr marL="685800" indent="-228600" algn="l" defTabSz="685800" rtl="0" eaLnBrk="1" latinLnBrk="0" hangingPunct="1">
        <a:lnSpc>
          <a:spcPct val="120000"/>
        </a:lnSpc>
        <a:spcBef>
          <a:spcPts val="500"/>
        </a:spcBef>
        <a:buClr>
          <a:schemeClr val="accent1"/>
        </a:buClr>
        <a:buSzPct val="100000"/>
        <a:buFont typeface="Arial" panose="020B0604020202020204" pitchFamily="34" charset="0"/>
        <a:buChar char="•"/>
        <a:defRPr sz="1600" kern="1200" cap="none" baseline="0">
          <a:solidFill>
            <a:schemeClr val="tx1"/>
          </a:solidFill>
          <a:effectLst/>
          <a:latin typeface="+mn-lt"/>
          <a:ea typeface="+mn-ea"/>
          <a:cs typeface="+mn-cs"/>
        </a:defRPr>
      </a:lvl2pPr>
      <a:lvl3pPr marL="1143000" indent="-228600" algn="l" defTabSz="685800" rtl="0" eaLnBrk="1" latinLnBrk="0" hangingPunct="1">
        <a:lnSpc>
          <a:spcPct val="120000"/>
        </a:lnSpc>
        <a:spcBef>
          <a:spcPts val="500"/>
        </a:spcBef>
        <a:buClr>
          <a:schemeClr val="accent1"/>
        </a:buClr>
        <a:buSzPct val="100000"/>
        <a:buFont typeface="Arial" panose="020B0604020202020204" pitchFamily="34" charset="0"/>
        <a:buChar char="•"/>
        <a:defRPr sz="1600" kern="1200" cap="none">
          <a:solidFill>
            <a:schemeClr val="tx1"/>
          </a:solidFill>
          <a:effectLst/>
          <a:latin typeface="+mn-lt"/>
          <a:ea typeface="+mn-ea"/>
          <a:cs typeface="+mn-cs"/>
        </a:defRPr>
      </a:lvl3pPr>
      <a:lvl4pPr marL="1600200" indent="-228600" algn="l" defTabSz="6858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685800" rtl="0" eaLnBrk="1" latinLnBrk="0" hangingPunct="1">
        <a:lnSpc>
          <a:spcPct val="120000"/>
        </a:lnSpc>
        <a:spcBef>
          <a:spcPts val="500"/>
        </a:spcBef>
        <a:buClr>
          <a:schemeClr val="accent1"/>
        </a:buClr>
        <a:buSzPct val="100000"/>
        <a:buFont typeface="Arial" panose="020B0604020202020204" pitchFamily="34" charset="0"/>
        <a:buChar char="•"/>
        <a:defRPr sz="1200" kern="1200" cap="none">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0.gif"/><Relationship Id="rId5" Type="http://schemas.openxmlformats.org/officeDocument/2006/relationships/image" Target="../media/image1.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1.gif"/><Relationship Id="rId5" Type="http://schemas.openxmlformats.org/officeDocument/2006/relationships/image" Target="../media/image1.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4.xml"/><Relationship Id="rId7" Type="http://schemas.openxmlformats.org/officeDocument/2006/relationships/diagramLayout" Target="../diagrams/layout1.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6.bin"/><Relationship Id="rId9" Type="http://schemas.openxmlformats.org/officeDocument/2006/relationships/diagramColors" Target="../diagrams/colors1.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13.gif"/><Relationship Id="rId4" Type="http://schemas.openxmlformats.org/officeDocument/2006/relationships/image" Target="../media/image5.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4.gif"/><Relationship Id="rId5" Type="http://schemas.openxmlformats.org/officeDocument/2006/relationships/image" Target="../media/image1.emf"/><Relationship Id="rId4" Type="http://schemas.openxmlformats.org/officeDocument/2006/relationships/oleObject" Target="../embeddings/oleObject8.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15.gif"/><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6.xml"/><Relationship Id="rId7" Type="http://schemas.openxmlformats.org/officeDocument/2006/relationships/image" Target="../media/image17.gif"/><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16.gif"/><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19.gif"/><Relationship Id="rId4" Type="http://schemas.openxmlformats.org/officeDocument/2006/relationships/image" Target="../media/image5.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20.gif"/><Relationship Id="rId5" Type="http://schemas.openxmlformats.org/officeDocument/2006/relationships/image" Target="../media/image5.emf"/><Relationship Id="rId4" Type="http://schemas.openxmlformats.org/officeDocument/2006/relationships/oleObject" Target="../embeddings/oleObject12.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21.png"/><Relationship Id="rId5" Type="http://schemas.openxmlformats.org/officeDocument/2006/relationships/image" Target="../media/image5.emf"/><Relationship Id="rId4" Type="http://schemas.openxmlformats.org/officeDocument/2006/relationships/oleObject" Target="../embeddings/oleObject13.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22.gif"/><Relationship Id="rId5" Type="http://schemas.openxmlformats.org/officeDocument/2006/relationships/image" Target="../media/image5.emf"/><Relationship Id="rId4" Type="http://schemas.openxmlformats.org/officeDocument/2006/relationships/oleObject" Target="../embeddings/oleObject14.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23.png"/><Relationship Id="rId5" Type="http://schemas.openxmlformats.org/officeDocument/2006/relationships/image" Target="../media/image5.emf"/><Relationship Id="rId4" Type="http://schemas.openxmlformats.org/officeDocument/2006/relationships/oleObject" Target="../embeddings/oleObject15.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26.gif"/><Relationship Id="rId5" Type="http://schemas.openxmlformats.org/officeDocument/2006/relationships/image" Target="../media/image2.jpg"/><Relationship Id="rId4" Type="http://schemas.openxmlformats.org/officeDocument/2006/relationships/image" Target="../media/image5.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27.gif"/><Relationship Id="rId4" Type="http://schemas.openxmlformats.org/officeDocument/2006/relationships/image" Target="../media/image5.emf"/></Relationships>
</file>

<file path=ppt/slides/_rels/slide25.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jpe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6.gif"/><Relationship Id="rId4" Type="http://schemas.openxmlformats.org/officeDocument/2006/relationships/image" Target="../media/image5.emf"/></Relationships>
</file>

<file path=ppt/slides/_rels/slide6.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8.gif"/><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9.tiff"/><Relationship Id="rId5" Type="http://schemas.openxmlformats.org/officeDocument/2006/relationships/image" Target="../media/image1.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t>Transformación Digital</a:t>
            </a:r>
          </a:p>
        </p:txBody>
      </p:sp>
      <p:sp>
        <p:nvSpPr>
          <p:cNvPr id="3" name="Subtitle 2"/>
          <p:cNvSpPr>
            <a:spLocks noGrp="1"/>
          </p:cNvSpPr>
          <p:nvPr>
            <p:ph type="subTitle" idx="1"/>
          </p:nvPr>
        </p:nvSpPr>
        <p:spPr/>
        <p:txBody>
          <a:bodyPr>
            <a:noAutofit/>
          </a:bodyPr>
          <a:lstStyle/>
          <a:p>
            <a:r>
              <a:rPr lang="es-ES" sz="2000" b="1" dirty="0"/>
              <a:t>Juan Carlos Montjoy</a:t>
            </a:r>
          </a:p>
          <a:p>
            <a:r>
              <a:rPr lang="es-ES" sz="2000" b="1" dirty="0"/>
              <a:t>CNC - enero 2026</a:t>
            </a:r>
          </a:p>
        </p:txBody>
      </p:sp>
    </p:spTree>
    <p:extLst>
      <p:ext uri="{BB962C8B-B14F-4D97-AF65-F5344CB8AC3E}">
        <p14:creationId xmlns:p14="http://schemas.microsoft.com/office/powerpoint/2010/main" val="33449703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694F7E9-D6CA-BD64-50BE-ACAE0FD5CA63}"/>
              </a:ext>
            </a:extLst>
          </p:cNvPr>
          <p:cNvGraphicFramePr>
            <a:graphicFrameLocks noChangeAspect="1"/>
          </p:cNvGraphicFramePr>
          <p:nvPr>
            <p:custDataLst>
              <p:tags r:id="rId1"/>
            </p:custDataLst>
            <p:extLst>
              <p:ext uri="{D42A27DB-BD31-4B8C-83A1-F6EECF244321}">
                <p14:modId xmlns:p14="http://schemas.microsoft.com/office/powerpoint/2010/main" val="961083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233" imgH="233" progId="TCLayout.ActiveDocument.1">
                  <p:embed/>
                </p:oleObj>
              </mc:Choice>
              <mc:Fallback>
                <p:oleObj name="Diapositiva de think-cell" r:id="rId4" imgW="233" imgH="233" progId="TCLayout.ActiveDocument.1">
                  <p:embed/>
                  <p:pic>
                    <p:nvPicPr>
                      <p:cNvPr id="3" name="think-cell data - do not delete" hidden="1">
                        <a:extLst>
                          <a:ext uri="{FF2B5EF4-FFF2-40B4-BE49-F238E27FC236}">
                            <a16:creationId xmlns:a16="http://schemas.microsoft.com/office/drawing/2014/main" id="{4694F7E9-D6CA-BD64-50BE-ACAE0FD5CA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434" name="CuadroTexto 1"/>
          <p:cNvSpPr txBox="1">
            <a:spLocks noChangeArrowheads="1"/>
          </p:cNvSpPr>
          <p:nvPr/>
        </p:nvSpPr>
        <p:spPr bwMode="auto">
          <a:xfrm>
            <a:off x="1512594" y="1853755"/>
            <a:ext cx="7488832" cy="3416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just"/>
            <a:r>
              <a:rPr lang="es-CL" altLang="es-CL" dirty="0">
                <a:latin typeface="Arial" panose="020B0604020202020204" pitchFamily="34" charset="0"/>
              </a:rPr>
              <a:t>La Transformación Digital es en gran medida la adecuación del modelo de negocio de la empresa para adaptarse al cambio que han sufrido los hábitos y costumbres de los consumidores.</a:t>
            </a:r>
          </a:p>
          <a:p>
            <a:pPr algn="just"/>
            <a:endParaRPr lang="es-CL" altLang="es-CL" dirty="0">
              <a:latin typeface="Arial" panose="020B0604020202020204" pitchFamily="34" charset="0"/>
            </a:endParaRPr>
          </a:p>
          <a:p>
            <a:pPr algn="just"/>
            <a:r>
              <a:rPr lang="es-CL" altLang="es-CL" dirty="0">
                <a:latin typeface="Arial" panose="020B0604020202020204" pitchFamily="34" charset="0"/>
              </a:rPr>
              <a:t>El consumidor, al que se pretende complacer, posee cada vez más información, poder de decisión, capacidad de generar opinión y canales de información de los que, hasta hace poco, sólo disponían las marcas. El cliente busca estar cada vez más conectado, interactuar más y confiar en la marca que le proporcione fidelidad.</a:t>
            </a:r>
          </a:p>
          <a:p>
            <a:pPr algn="just"/>
            <a:endParaRPr lang="es-CL" altLang="es-CL" dirty="0">
              <a:latin typeface="Arial" panose="020B0604020202020204" pitchFamily="34" charset="0"/>
            </a:endParaRPr>
          </a:p>
          <a:p>
            <a:pPr algn="just"/>
            <a:r>
              <a:rPr lang="es-CL" altLang="es-CL" dirty="0">
                <a:latin typeface="Arial" panose="020B0604020202020204" pitchFamily="34" charset="0"/>
              </a:rPr>
              <a:t>Es la experiencia del cliente la que impulsa en gran medida la transformación de la empresa?</a:t>
            </a:r>
          </a:p>
        </p:txBody>
      </p:sp>
      <p:sp>
        <p:nvSpPr>
          <p:cNvPr id="5" name="Título 1"/>
          <p:cNvSpPr>
            <a:spLocks noGrp="1"/>
          </p:cNvSpPr>
          <p:nvPr>
            <p:ph type="title"/>
          </p:nvPr>
        </p:nvSpPr>
        <p:spPr>
          <a:xfrm>
            <a:off x="1535413" y="804520"/>
            <a:ext cx="6479421" cy="1049235"/>
          </a:xfrm>
        </p:spPr>
        <p:txBody>
          <a:bodyPr vert="horz">
            <a:normAutofit/>
          </a:bodyPr>
          <a:lstStyle/>
          <a:p>
            <a:r>
              <a:rPr lang="es-CL" altLang="es-CL" dirty="0">
                <a:latin typeface="Arial" panose="020B0604020202020204" pitchFamily="34" charset="0"/>
                <a:cs typeface="Arial" panose="020B0604020202020204" pitchFamily="34" charset="0"/>
              </a:rPr>
              <a:t>TD y Experiencia del Cliente</a:t>
            </a:r>
          </a:p>
        </p:txBody>
      </p:sp>
      <p:pic>
        <p:nvPicPr>
          <p:cNvPr id="2" name="Imagen 1" descr="Mouse Click GIF by cam/b - the photo brothers">
            <a:extLst>
              <a:ext uri="{FF2B5EF4-FFF2-40B4-BE49-F238E27FC236}">
                <a16:creationId xmlns:a16="http://schemas.microsoft.com/office/drawing/2014/main" id="{6EBBC0D8-2E7F-AF0A-531B-B33B3022FC9E}"/>
              </a:ext>
            </a:extLst>
          </p:cNvPr>
          <p:cNvPicPr>
            <a:picLocks noChangeAspect="1"/>
          </p:cNvPicPr>
          <p:nvPr/>
        </p:nvPicPr>
        <p:blipFill>
          <a:blip r:embed="rId6"/>
          <a:stretch>
            <a:fillRect/>
          </a:stretch>
        </p:blipFill>
        <p:spPr>
          <a:xfrm>
            <a:off x="7631406" y="5052088"/>
            <a:ext cx="1261074" cy="1676775"/>
          </a:xfrm>
          <a:prstGeom prst="rect">
            <a:avLst/>
          </a:prstGeom>
        </p:spPr>
      </p:pic>
    </p:spTree>
    <p:extLst>
      <p:ext uri="{BB962C8B-B14F-4D97-AF65-F5344CB8AC3E}">
        <p14:creationId xmlns:p14="http://schemas.microsoft.com/office/powerpoint/2010/main" val="999394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CD387D-2D66-6A79-DB38-EB0281B927FE}"/>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58C681-0C8B-6D9F-7472-65664A10D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233" imgH="233" progId="TCLayout.ActiveDocument.1">
                  <p:embed/>
                </p:oleObj>
              </mc:Choice>
              <mc:Fallback>
                <p:oleObj name="Diapositiva de think-cell" r:id="rId4" imgW="233" imgH="233" progId="TCLayout.ActiveDocument.1">
                  <p:embed/>
                  <p:pic>
                    <p:nvPicPr>
                      <p:cNvPr id="3" name="think-cell data - do not delete" hidden="1">
                        <a:extLst>
                          <a:ext uri="{FF2B5EF4-FFF2-40B4-BE49-F238E27FC236}">
                            <a16:creationId xmlns:a16="http://schemas.microsoft.com/office/drawing/2014/main" id="{D158C681-0C8B-6D9F-7472-65664A10D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434" name="CuadroTexto 1">
            <a:extLst>
              <a:ext uri="{FF2B5EF4-FFF2-40B4-BE49-F238E27FC236}">
                <a16:creationId xmlns:a16="http://schemas.microsoft.com/office/drawing/2014/main" id="{3FD9AE47-84A7-5FAA-950C-9A48AD082F32}"/>
              </a:ext>
            </a:extLst>
          </p:cNvPr>
          <p:cNvSpPr txBox="1">
            <a:spLocks noChangeArrowheads="1"/>
          </p:cNvSpPr>
          <p:nvPr/>
        </p:nvSpPr>
        <p:spPr bwMode="auto">
          <a:xfrm>
            <a:off x="1535413" y="2276872"/>
            <a:ext cx="7488832"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just"/>
            <a:r>
              <a:rPr lang="es-CL" altLang="es-CL" sz="1600" dirty="0">
                <a:latin typeface="Arial" panose="020B0604020202020204" pitchFamily="34" charset="0"/>
              </a:rPr>
              <a:t>DE CUSTOMER (Pasivo) a PROSUMER (Creador)</a:t>
            </a:r>
          </a:p>
          <a:p>
            <a:pPr algn="just"/>
            <a:endParaRPr lang="es-CL" altLang="es-CL" sz="1600" dirty="0">
              <a:latin typeface="Arial" panose="020B0604020202020204" pitchFamily="34" charset="0"/>
            </a:endParaRPr>
          </a:p>
          <a:p>
            <a:pPr algn="just"/>
            <a:endParaRPr lang="es-CL" altLang="es-CL" sz="1600" dirty="0">
              <a:latin typeface="Arial" panose="020B0604020202020204" pitchFamily="34" charset="0"/>
            </a:endParaRPr>
          </a:p>
          <a:p>
            <a:pPr algn="just"/>
            <a:endParaRPr lang="es-CL" altLang="es-CL" sz="1600" dirty="0">
              <a:latin typeface="Arial" panose="020B0604020202020204" pitchFamily="34" charset="0"/>
            </a:endParaRPr>
          </a:p>
          <a:p>
            <a:pPr algn="just"/>
            <a:endParaRPr lang="es-CL" altLang="es-CL" sz="1600" dirty="0">
              <a:latin typeface="Arial" panose="020B0604020202020204" pitchFamily="34" charset="0"/>
            </a:endParaRPr>
          </a:p>
          <a:p>
            <a:pPr algn="just"/>
            <a:endParaRPr lang="es-CL" altLang="es-CL" sz="1600" dirty="0">
              <a:latin typeface="Arial" panose="020B0604020202020204" pitchFamily="34" charset="0"/>
            </a:endParaRPr>
          </a:p>
          <a:p>
            <a:pPr algn="just"/>
            <a:endParaRPr lang="es-CL" altLang="es-CL" sz="1600" dirty="0">
              <a:latin typeface="Arial" panose="020B0604020202020204" pitchFamily="34" charset="0"/>
            </a:endParaRPr>
          </a:p>
          <a:p>
            <a:pPr algn="just"/>
            <a:endParaRPr lang="es-CL" altLang="es-CL" sz="1600" dirty="0">
              <a:latin typeface="Arial" panose="020B0604020202020204" pitchFamily="34" charset="0"/>
            </a:endParaRPr>
          </a:p>
          <a:p>
            <a:pPr algn="just"/>
            <a:endParaRPr lang="es-CL" altLang="es-CL" sz="1600" dirty="0">
              <a:latin typeface="Arial" panose="020B0604020202020204" pitchFamily="34" charset="0"/>
            </a:endParaRPr>
          </a:p>
          <a:p>
            <a:pPr algn="just"/>
            <a:endParaRPr lang="es-CL" altLang="es-CL" sz="1600" dirty="0">
              <a:latin typeface="Arial" panose="020B0604020202020204" pitchFamily="34" charset="0"/>
            </a:endParaRPr>
          </a:p>
          <a:p>
            <a:pPr algn="just"/>
            <a:r>
              <a:rPr lang="es-CL" altLang="es-CL" sz="1600" dirty="0">
                <a:latin typeface="Arial" panose="020B0604020202020204" pitchFamily="34" charset="0"/>
              </a:rPr>
              <a:t>DE UNA COMPRA TRANSACCIONAL A RELACIONAL</a:t>
            </a:r>
          </a:p>
          <a:p>
            <a:pPr algn="just"/>
            <a:endParaRPr lang="es-CL" altLang="es-CL" sz="1600" dirty="0">
              <a:latin typeface="Arial" panose="020B0604020202020204" pitchFamily="34" charset="0"/>
            </a:endParaRPr>
          </a:p>
        </p:txBody>
      </p:sp>
      <p:sp>
        <p:nvSpPr>
          <p:cNvPr id="5" name="Título 1">
            <a:extLst>
              <a:ext uri="{FF2B5EF4-FFF2-40B4-BE49-F238E27FC236}">
                <a16:creationId xmlns:a16="http://schemas.microsoft.com/office/drawing/2014/main" id="{8A26F7F3-D303-8208-44BE-E1555C69E1B7}"/>
              </a:ext>
            </a:extLst>
          </p:cNvPr>
          <p:cNvSpPr>
            <a:spLocks noGrp="1"/>
          </p:cNvSpPr>
          <p:nvPr>
            <p:ph type="title"/>
          </p:nvPr>
        </p:nvSpPr>
        <p:spPr>
          <a:xfrm>
            <a:off x="1535413" y="804520"/>
            <a:ext cx="6479421" cy="1049235"/>
          </a:xfrm>
        </p:spPr>
        <p:txBody>
          <a:bodyPr vert="horz">
            <a:normAutofit/>
          </a:bodyPr>
          <a:lstStyle/>
          <a:p>
            <a:r>
              <a:rPr lang="es-CL" altLang="es-CL" dirty="0">
                <a:latin typeface="Arial" panose="020B0604020202020204" pitchFamily="34" charset="0"/>
                <a:cs typeface="Arial" panose="020B0604020202020204" pitchFamily="34" charset="0"/>
              </a:rPr>
              <a:t>TD y Experiencia del Cliente</a:t>
            </a:r>
          </a:p>
        </p:txBody>
      </p:sp>
      <p:pic>
        <p:nvPicPr>
          <p:cNvPr id="4" name="Imagen 3" descr="스타벅스 Sticker by Starbucks Korea">
            <a:extLst>
              <a:ext uri="{FF2B5EF4-FFF2-40B4-BE49-F238E27FC236}">
                <a16:creationId xmlns:a16="http://schemas.microsoft.com/office/drawing/2014/main" id="{77487DA9-C83C-50F5-88FC-ACCFD6E003B9}"/>
              </a:ext>
            </a:extLst>
          </p:cNvPr>
          <p:cNvPicPr>
            <a:picLocks noChangeAspect="1"/>
          </p:cNvPicPr>
          <p:nvPr/>
        </p:nvPicPr>
        <p:blipFill>
          <a:blip r:embed="rId6"/>
          <a:stretch>
            <a:fillRect/>
          </a:stretch>
        </p:blipFill>
        <p:spPr>
          <a:xfrm>
            <a:off x="395536" y="3717032"/>
            <a:ext cx="1423673" cy="2135510"/>
          </a:xfrm>
          <a:prstGeom prst="rect">
            <a:avLst/>
          </a:prstGeom>
        </p:spPr>
      </p:pic>
      <p:pic>
        <p:nvPicPr>
          <p:cNvPr id="6" name="Imagen 5">
            <a:extLst>
              <a:ext uri="{FF2B5EF4-FFF2-40B4-BE49-F238E27FC236}">
                <a16:creationId xmlns:a16="http://schemas.microsoft.com/office/drawing/2014/main" id="{23F661A9-5064-1888-FA3A-D497011ABFE2}"/>
              </a:ext>
            </a:extLst>
          </p:cNvPr>
          <p:cNvPicPr>
            <a:picLocks noChangeAspect="1"/>
          </p:cNvPicPr>
          <p:nvPr/>
        </p:nvPicPr>
        <p:blipFill>
          <a:blip r:embed="rId7"/>
          <a:stretch>
            <a:fillRect/>
          </a:stretch>
        </p:blipFill>
        <p:spPr>
          <a:xfrm>
            <a:off x="5868144" y="2780928"/>
            <a:ext cx="3010835" cy="1521099"/>
          </a:xfrm>
          <a:prstGeom prst="rect">
            <a:avLst/>
          </a:prstGeom>
        </p:spPr>
      </p:pic>
    </p:spTree>
    <p:extLst>
      <p:ext uri="{BB962C8B-B14F-4D97-AF65-F5344CB8AC3E}">
        <p14:creationId xmlns:p14="http://schemas.microsoft.com/office/powerpoint/2010/main" val="36964095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E0F198-2A5B-62E3-DEAF-ADEA26B64D4B}"/>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36D4437-FBFA-A699-F4D1-3C2428BD4884}"/>
              </a:ext>
            </a:extLst>
          </p:cNvPr>
          <p:cNvGraphicFramePr>
            <a:graphicFrameLocks noChangeAspect="1"/>
          </p:cNvGraphicFramePr>
          <p:nvPr>
            <p:custDataLst>
              <p:tags r:id="rId1"/>
            </p:custDataLst>
            <p:extLst>
              <p:ext uri="{D42A27DB-BD31-4B8C-83A1-F6EECF244321}">
                <p14:modId xmlns:p14="http://schemas.microsoft.com/office/powerpoint/2010/main" val="2884083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233" imgH="233" progId="TCLayout.ActiveDocument.1">
                  <p:embed/>
                </p:oleObj>
              </mc:Choice>
              <mc:Fallback>
                <p:oleObj name="Diapositiva de think-cell" r:id="rId4" imgW="233" imgH="233" progId="TCLayout.ActiveDocument.1">
                  <p:embed/>
                  <p:pic>
                    <p:nvPicPr>
                      <p:cNvPr id="3" name="think-cell data - do not delete" hidden="1">
                        <a:extLst>
                          <a:ext uri="{FF2B5EF4-FFF2-40B4-BE49-F238E27FC236}">
                            <a16:creationId xmlns:a16="http://schemas.microsoft.com/office/drawing/2014/main" id="{536D4437-FBFA-A699-F4D1-3C2428BD48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ítulo 1">
            <a:extLst>
              <a:ext uri="{FF2B5EF4-FFF2-40B4-BE49-F238E27FC236}">
                <a16:creationId xmlns:a16="http://schemas.microsoft.com/office/drawing/2014/main" id="{06EB12D4-9839-A85A-D73B-C680ED4ED6ED}"/>
              </a:ext>
            </a:extLst>
          </p:cNvPr>
          <p:cNvSpPr>
            <a:spLocks noGrp="1"/>
          </p:cNvSpPr>
          <p:nvPr>
            <p:ph type="title"/>
          </p:nvPr>
        </p:nvSpPr>
        <p:spPr>
          <a:xfrm>
            <a:off x="1535413" y="804520"/>
            <a:ext cx="6479421" cy="1049235"/>
          </a:xfrm>
        </p:spPr>
        <p:txBody>
          <a:bodyPr vert="horz">
            <a:normAutofit/>
          </a:bodyPr>
          <a:lstStyle/>
          <a:p>
            <a:r>
              <a:rPr lang="es-CL" altLang="es-CL" dirty="0">
                <a:latin typeface="Arial" panose="020B0604020202020204" pitchFamily="34" charset="0"/>
                <a:cs typeface="Arial" panose="020B0604020202020204" pitchFamily="34" charset="0"/>
              </a:rPr>
              <a:t>Por qué la Revolución Industrial se origina en Inglaterra?</a:t>
            </a:r>
          </a:p>
        </p:txBody>
      </p:sp>
      <p:graphicFrame>
        <p:nvGraphicFramePr>
          <p:cNvPr id="27" name="Diagrama 26">
            <a:extLst>
              <a:ext uri="{FF2B5EF4-FFF2-40B4-BE49-F238E27FC236}">
                <a16:creationId xmlns:a16="http://schemas.microsoft.com/office/drawing/2014/main" id="{E9A1E357-0E16-3527-327F-29D4D3C228C9}"/>
              </a:ext>
            </a:extLst>
          </p:cNvPr>
          <p:cNvGraphicFramePr/>
          <p:nvPr>
            <p:extLst>
              <p:ext uri="{D42A27DB-BD31-4B8C-83A1-F6EECF244321}">
                <p14:modId xmlns:p14="http://schemas.microsoft.com/office/powerpoint/2010/main" val="3682988278"/>
              </p:ext>
            </p:extLst>
          </p:nvPr>
        </p:nvGraphicFramePr>
        <p:xfrm>
          <a:off x="1579483" y="1700808"/>
          <a:ext cx="6720408" cy="465648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1618751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8BA167-9463-ECD1-92F4-DEDE6EA460B1}"/>
              </a:ext>
            </a:extLst>
          </p:cNvPr>
          <p:cNvGraphicFramePr>
            <a:graphicFrameLocks noChangeAspect="1"/>
          </p:cNvGraphicFramePr>
          <p:nvPr>
            <p:custDataLst>
              <p:tags r:id="rId1"/>
            </p:custDataLst>
            <p:extLst>
              <p:ext uri="{D42A27DB-BD31-4B8C-83A1-F6EECF244321}">
                <p14:modId xmlns:p14="http://schemas.microsoft.com/office/powerpoint/2010/main" val="2760817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65" imgH="365" progId="TCLayout.ActiveDocument.1">
                  <p:embed/>
                </p:oleObj>
              </mc:Choice>
              <mc:Fallback>
                <p:oleObj name="Diapositiva de think-cell" r:id="rId3" imgW="365" imgH="365" progId="TCLayout.ActiveDocument.1">
                  <p:embed/>
                  <p:pic>
                    <p:nvPicPr>
                      <p:cNvPr id="6" name="think-cell data - do not delete" hidden="1">
                        <a:extLst>
                          <a:ext uri="{FF2B5EF4-FFF2-40B4-BE49-F238E27FC236}">
                            <a16:creationId xmlns:a16="http://schemas.microsoft.com/office/drawing/2014/main" id="{838BA167-9463-ECD1-92F4-DEDE6EA460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362" name="CuadroTexto 1"/>
          <p:cNvSpPr txBox="1">
            <a:spLocks noChangeArrowheads="1"/>
          </p:cNvSpPr>
          <p:nvPr/>
        </p:nvSpPr>
        <p:spPr bwMode="auto">
          <a:xfrm>
            <a:off x="1403648" y="2132856"/>
            <a:ext cx="712879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charset="0"/>
                <a:ea typeface="Arial" charset="0"/>
                <a:cs typeface="Arial" charset="0"/>
              </a:defRPr>
            </a:lvl1pPr>
            <a:lvl2pPr marL="742950" indent="-285750">
              <a:defRPr>
                <a:solidFill>
                  <a:schemeClr val="tx1"/>
                </a:solidFill>
                <a:latin typeface="Calibri" charset="0"/>
                <a:ea typeface="Arial" charset="0"/>
                <a:cs typeface="Arial" charset="0"/>
              </a:defRPr>
            </a:lvl2pPr>
            <a:lvl3pPr marL="1143000" indent="-228600">
              <a:defRPr>
                <a:solidFill>
                  <a:schemeClr val="tx1"/>
                </a:solidFill>
                <a:latin typeface="Calibri" charset="0"/>
                <a:ea typeface="Arial" charset="0"/>
                <a:cs typeface="Arial" charset="0"/>
              </a:defRPr>
            </a:lvl3pPr>
            <a:lvl4pPr marL="1600200" indent="-228600">
              <a:defRPr>
                <a:solidFill>
                  <a:schemeClr val="tx1"/>
                </a:solidFill>
                <a:latin typeface="Calibri" charset="0"/>
                <a:ea typeface="Arial" charset="0"/>
                <a:cs typeface="Arial" charset="0"/>
              </a:defRPr>
            </a:lvl4pPr>
            <a:lvl5pPr marL="2057400" indent="-228600">
              <a:defRPr>
                <a:solidFill>
                  <a:schemeClr val="tx1"/>
                </a:solidFill>
                <a:latin typeface="Calibri" charset="0"/>
                <a:ea typeface="Arial" charset="0"/>
                <a:cs typeface="Arial" charset="0"/>
              </a:defRPr>
            </a:lvl5pPr>
            <a:lvl6pPr marL="2514600" indent="-228600" eaLnBrk="0" fontAlgn="base" hangingPunct="0">
              <a:spcBef>
                <a:spcPct val="0"/>
              </a:spcBef>
              <a:spcAft>
                <a:spcPct val="0"/>
              </a:spcAft>
              <a:defRPr>
                <a:solidFill>
                  <a:schemeClr val="tx1"/>
                </a:solidFill>
                <a:latin typeface="Calibri" charset="0"/>
                <a:ea typeface="Arial" charset="0"/>
                <a:cs typeface="Arial" charset="0"/>
              </a:defRPr>
            </a:lvl6pPr>
            <a:lvl7pPr marL="2971800" indent="-228600" eaLnBrk="0" fontAlgn="base" hangingPunct="0">
              <a:spcBef>
                <a:spcPct val="0"/>
              </a:spcBef>
              <a:spcAft>
                <a:spcPct val="0"/>
              </a:spcAft>
              <a:defRPr>
                <a:solidFill>
                  <a:schemeClr val="tx1"/>
                </a:solidFill>
                <a:latin typeface="Calibri" charset="0"/>
                <a:ea typeface="Arial" charset="0"/>
                <a:cs typeface="Arial" charset="0"/>
              </a:defRPr>
            </a:lvl7pPr>
            <a:lvl8pPr marL="3429000" indent="-228600" eaLnBrk="0" fontAlgn="base" hangingPunct="0">
              <a:spcBef>
                <a:spcPct val="0"/>
              </a:spcBef>
              <a:spcAft>
                <a:spcPct val="0"/>
              </a:spcAft>
              <a:defRPr>
                <a:solidFill>
                  <a:schemeClr val="tx1"/>
                </a:solidFill>
                <a:latin typeface="Calibri" charset="0"/>
                <a:ea typeface="Arial" charset="0"/>
                <a:cs typeface="Arial" charset="0"/>
              </a:defRPr>
            </a:lvl8pPr>
            <a:lvl9pPr marL="3886200" indent="-228600" eaLnBrk="0" fontAlgn="base" hangingPunct="0">
              <a:spcBef>
                <a:spcPct val="0"/>
              </a:spcBef>
              <a:spcAft>
                <a:spcPct val="0"/>
              </a:spcAft>
              <a:defRPr>
                <a:solidFill>
                  <a:schemeClr val="tx1"/>
                </a:solidFill>
                <a:latin typeface="Calibri" charset="0"/>
                <a:ea typeface="Arial" charset="0"/>
                <a:cs typeface="Arial" charset="0"/>
              </a:defRPr>
            </a:lvl9pPr>
          </a:lstStyle>
          <a:p>
            <a:pPr algn="ctr">
              <a:defRPr/>
            </a:pPr>
            <a:r>
              <a:rPr lang="es-CL" altLang="x-none" sz="2400" b="1" dirty="0">
                <a:latin typeface="Arial" panose="020B0604020202020204" pitchFamily="34" charset="0"/>
                <a:cs typeface="Arial" panose="020B0604020202020204" pitchFamily="34" charset="0"/>
              </a:rPr>
              <a:t>Las Capacidades Digitales nos permiten enfrentar el “Mundo Digital”.</a:t>
            </a:r>
          </a:p>
          <a:p>
            <a:pPr algn="ctr">
              <a:defRPr/>
            </a:pPr>
            <a:endParaRPr lang="es-CL" altLang="x-none" sz="2400" b="1" dirty="0">
              <a:latin typeface="Arial" panose="020B0604020202020204" pitchFamily="34" charset="0"/>
              <a:cs typeface="Arial" panose="020B0604020202020204" pitchFamily="34" charset="0"/>
            </a:endParaRPr>
          </a:p>
        </p:txBody>
      </p:sp>
      <p:sp>
        <p:nvSpPr>
          <p:cNvPr id="5" name="Título 1"/>
          <p:cNvSpPr>
            <a:spLocks noGrp="1"/>
          </p:cNvSpPr>
          <p:nvPr>
            <p:ph type="title"/>
          </p:nvPr>
        </p:nvSpPr>
        <p:spPr>
          <a:xfrm>
            <a:off x="1403648" y="836712"/>
            <a:ext cx="6479421" cy="1049235"/>
          </a:xfrm>
        </p:spPr>
        <p:txBody>
          <a:bodyPr vert="horz">
            <a:normAutofit/>
          </a:bodyPr>
          <a:lstStyle/>
          <a:p>
            <a:r>
              <a:rPr lang="es-CL" altLang="es-CL">
                <a:latin typeface="Arial" panose="020B0604020202020204" pitchFamily="34" charset="0"/>
                <a:cs typeface="Arial" panose="020B0604020202020204" pitchFamily="34" charset="0"/>
              </a:rPr>
              <a:t>Las Capacidades Digitales</a:t>
            </a:r>
            <a:endParaRPr lang="es-CL" altLang="es-CL" dirty="0">
              <a:latin typeface="Arial" panose="020B0604020202020204" pitchFamily="34" charset="0"/>
              <a:cs typeface="Arial" panose="020B0604020202020204" pitchFamily="34" charset="0"/>
            </a:endParaRPr>
          </a:p>
        </p:txBody>
      </p:sp>
      <p:pic>
        <p:nvPicPr>
          <p:cNvPr id="4098" name="Picture 2" descr="Phone Apple GIF">
            <a:extLst>
              <a:ext uri="{FF2B5EF4-FFF2-40B4-BE49-F238E27FC236}">
                <a16:creationId xmlns:a16="http://schemas.microsoft.com/office/drawing/2014/main" id="{E380563B-26B1-3F05-94F8-44F60F0B29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58745" y="3580094"/>
            <a:ext cx="3003089" cy="2257962"/>
          </a:xfrm>
          <a:prstGeom prst="rect">
            <a:avLst/>
          </a:prstGeom>
          <a:noFill/>
          <a:extLst>
            <a:ext uri="{909E8E84-426E-40DD-AFC4-6F175D3DCCD1}">
              <a14:hiddenFill xmlns:a14="http://schemas.microsoft.com/office/drawing/2010/main">
                <a:solidFill>
                  <a:srgbClr val="FFFFFF"/>
                </a:solidFill>
              </a14:hiddenFill>
            </a:ext>
          </a:extLst>
        </p:spPr>
      </p:pic>
      <p:sp>
        <p:nvSpPr>
          <p:cNvPr id="8" name="CuadroTexto 7">
            <a:extLst>
              <a:ext uri="{FF2B5EF4-FFF2-40B4-BE49-F238E27FC236}">
                <a16:creationId xmlns:a16="http://schemas.microsoft.com/office/drawing/2014/main" id="{5818B4CB-0A7E-6491-E32F-0C6950C06B13}"/>
              </a:ext>
            </a:extLst>
          </p:cNvPr>
          <p:cNvSpPr txBox="1"/>
          <p:nvPr/>
        </p:nvSpPr>
        <p:spPr>
          <a:xfrm>
            <a:off x="539552" y="4233390"/>
            <a:ext cx="4577442" cy="1477328"/>
          </a:xfrm>
          <a:prstGeom prst="rect">
            <a:avLst/>
          </a:prstGeom>
          <a:noFill/>
        </p:spPr>
        <p:txBody>
          <a:bodyPr wrap="square">
            <a:spAutoFit/>
          </a:bodyPr>
          <a:lstStyle/>
          <a:p>
            <a:pPr algn="just"/>
            <a:r>
              <a:rPr lang="es-CL" altLang="es-CL" sz="1800" i="1" dirty="0">
                <a:latin typeface="Arial" panose="020B0604020202020204" pitchFamily="34" charset="0"/>
              </a:rPr>
              <a:t>La mera implementación de tecnología por sí sola no produce transformación digital, pero cambiar una organización para aprovechar el potencial de estas tecnologías sí lo hace.</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72AB477-365C-0425-A31E-A869900FA8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233" imgH="233" progId="TCLayout.ActiveDocument.1">
                  <p:embed/>
                </p:oleObj>
              </mc:Choice>
              <mc:Fallback>
                <p:oleObj name="Diapositiva de think-cell" r:id="rId4" imgW="233" imgH="233" progId="TCLayout.ActiveDocument.1">
                  <p:embed/>
                  <p:pic>
                    <p:nvPicPr>
                      <p:cNvPr id="3" name="think-cell data - do not delete" hidden="1">
                        <a:extLst>
                          <a:ext uri="{FF2B5EF4-FFF2-40B4-BE49-F238E27FC236}">
                            <a16:creationId xmlns:a16="http://schemas.microsoft.com/office/drawing/2014/main" id="{A72AB477-365C-0425-A31E-A869900FA8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Hexagon 37"/>
          <p:cNvSpPr/>
          <p:nvPr/>
        </p:nvSpPr>
        <p:spPr>
          <a:xfrm rot="16200000">
            <a:off x="2454825" y="4285155"/>
            <a:ext cx="1327828" cy="1144680"/>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400"/>
          </a:p>
        </p:txBody>
      </p:sp>
      <p:sp>
        <p:nvSpPr>
          <p:cNvPr id="14338" name="CuadroTexto 1"/>
          <p:cNvSpPr txBox="1">
            <a:spLocks noChangeArrowheads="1"/>
          </p:cNvSpPr>
          <p:nvPr/>
        </p:nvSpPr>
        <p:spPr bwMode="auto">
          <a:xfrm>
            <a:off x="1403648" y="1885947"/>
            <a:ext cx="7632848" cy="18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just"/>
            <a:r>
              <a:rPr lang="es-CL" altLang="es-CL" dirty="0">
                <a:latin typeface="Arial" panose="020B0604020202020204" pitchFamily="34" charset="0"/>
              </a:rPr>
              <a:t>La Transformación Digital es un proceso, más que un objetivo en sí, y necesita de actitudes dispuestas al cambio y a la adaptación constante que implica salir de una zona de confort para buscar nuevas oportunidades.</a:t>
            </a:r>
          </a:p>
          <a:p>
            <a:pPr algn="just"/>
            <a:endParaRPr lang="es-CL" altLang="es-CL" dirty="0">
              <a:latin typeface="Arial" panose="020B0604020202020204" pitchFamily="34" charset="0"/>
            </a:endParaRPr>
          </a:p>
          <a:p>
            <a:pPr algn="just"/>
            <a:r>
              <a:rPr lang="es-CL" altLang="es-CL" dirty="0">
                <a:latin typeface="Arial" panose="020B0604020202020204" pitchFamily="34" charset="0"/>
              </a:rPr>
              <a:t>La transformación digital es la reinvención de una organización a través de la utilización de la tecnología digital para mejorar la forma en que se la organización se desempeña y sirve a quienes la constituyen.</a:t>
            </a:r>
          </a:p>
        </p:txBody>
      </p:sp>
      <p:sp>
        <p:nvSpPr>
          <p:cNvPr id="5" name="Título 1"/>
          <p:cNvSpPr>
            <a:spLocks noGrp="1"/>
          </p:cNvSpPr>
          <p:nvPr>
            <p:ph type="title"/>
          </p:nvPr>
        </p:nvSpPr>
        <p:spPr>
          <a:xfrm>
            <a:off x="1403648" y="836712"/>
            <a:ext cx="6479421" cy="1049235"/>
          </a:xfrm>
        </p:spPr>
        <p:txBody>
          <a:bodyPr vert="horz">
            <a:normAutofit/>
          </a:bodyPr>
          <a:lstStyle/>
          <a:p>
            <a:r>
              <a:rPr lang="es-CL" altLang="es-CL" dirty="0">
                <a:latin typeface="Arial" panose="020B0604020202020204" pitchFamily="34" charset="0"/>
                <a:cs typeface="Arial" panose="020B0604020202020204" pitchFamily="34" charset="0"/>
              </a:rPr>
              <a:t>TD como un proceso</a:t>
            </a:r>
          </a:p>
        </p:txBody>
      </p:sp>
      <p:sp>
        <p:nvSpPr>
          <p:cNvPr id="7" name="Rectángulo 34"/>
          <p:cNvSpPr>
            <a:spLocks noChangeArrowheads="1"/>
          </p:cNvSpPr>
          <p:nvPr/>
        </p:nvSpPr>
        <p:spPr bwMode="auto">
          <a:xfrm>
            <a:off x="2641099" y="4631791"/>
            <a:ext cx="955277" cy="451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514350">
              <a:defRPr>
                <a:solidFill>
                  <a:schemeClr val="tx1"/>
                </a:solidFill>
                <a:latin typeface="Calibri" panose="020F0502020204030204" pitchFamily="34" charset="0"/>
                <a:cs typeface="Arial" panose="020B0604020202020204" pitchFamily="34" charset="0"/>
              </a:defRPr>
            </a:lvl1pPr>
            <a:lvl2pPr marL="742950" indent="-285750" defTabSz="514350">
              <a:defRPr>
                <a:solidFill>
                  <a:schemeClr val="tx1"/>
                </a:solidFill>
                <a:latin typeface="Calibri" panose="020F0502020204030204" pitchFamily="34" charset="0"/>
                <a:cs typeface="Arial" panose="020B0604020202020204" pitchFamily="34" charset="0"/>
              </a:defRPr>
            </a:lvl2pPr>
            <a:lvl3pPr marL="1143000" indent="-228600" defTabSz="514350">
              <a:defRPr>
                <a:solidFill>
                  <a:schemeClr val="tx1"/>
                </a:solidFill>
                <a:latin typeface="Calibri" panose="020F0502020204030204" pitchFamily="34" charset="0"/>
                <a:cs typeface="Arial" panose="020B0604020202020204" pitchFamily="34" charset="0"/>
              </a:defRPr>
            </a:lvl3pPr>
            <a:lvl4pPr marL="1600200" indent="-228600" defTabSz="514350">
              <a:defRPr>
                <a:solidFill>
                  <a:schemeClr val="tx1"/>
                </a:solidFill>
                <a:latin typeface="Calibri" panose="020F0502020204030204" pitchFamily="34" charset="0"/>
                <a:cs typeface="Arial" panose="020B0604020202020204" pitchFamily="34" charset="0"/>
              </a:defRPr>
            </a:lvl4pPr>
            <a:lvl5pPr marL="2057400" indent="-228600" defTabSz="514350">
              <a:defRPr>
                <a:solidFill>
                  <a:schemeClr val="tx1"/>
                </a:solidFill>
                <a:latin typeface="Calibri" panose="020F0502020204030204" pitchFamily="34" charset="0"/>
                <a:cs typeface="Arial" panose="020B0604020202020204" pitchFamily="34" charset="0"/>
              </a:defRPr>
            </a:lvl5pPr>
            <a:lvl6pPr marL="2514600" indent="-228600" defTabSz="51435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51435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51435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51435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lnSpc>
                <a:spcPts val="1350"/>
              </a:lnSpc>
            </a:pPr>
            <a:r>
              <a:rPr lang="es-CL" altLang="es-CL" sz="1200" dirty="0"/>
              <a:t>Modelo de </a:t>
            </a:r>
          </a:p>
          <a:p>
            <a:pPr algn="ctr">
              <a:lnSpc>
                <a:spcPts val="1350"/>
              </a:lnSpc>
            </a:pPr>
            <a:r>
              <a:rPr lang="es-CL" altLang="es-CL" sz="1200" dirty="0"/>
              <a:t>Negocios</a:t>
            </a:r>
            <a:endParaRPr lang="es-ES" altLang="es-CL" sz="1200" dirty="0"/>
          </a:p>
        </p:txBody>
      </p:sp>
      <p:sp>
        <p:nvSpPr>
          <p:cNvPr id="39" name="Hexagon 38"/>
          <p:cNvSpPr/>
          <p:nvPr/>
        </p:nvSpPr>
        <p:spPr>
          <a:xfrm rot="16200000">
            <a:off x="3754095" y="5104749"/>
            <a:ext cx="1327828" cy="1144680"/>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400"/>
          </a:p>
        </p:txBody>
      </p:sp>
      <p:sp>
        <p:nvSpPr>
          <p:cNvPr id="40" name="Hexagon 39"/>
          <p:cNvSpPr/>
          <p:nvPr/>
        </p:nvSpPr>
        <p:spPr>
          <a:xfrm rot="16200000">
            <a:off x="5053364" y="4285156"/>
            <a:ext cx="1327828" cy="114468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400"/>
          </a:p>
        </p:txBody>
      </p:sp>
      <p:sp>
        <p:nvSpPr>
          <p:cNvPr id="41" name="Hexagon 40"/>
          <p:cNvSpPr/>
          <p:nvPr/>
        </p:nvSpPr>
        <p:spPr>
          <a:xfrm rot="16200000">
            <a:off x="6352634" y="5104750"/>
            <a:ext cx="1327828" cy="1144680"/>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400"/>
          </a:p>
        </p:txBody>
      </p:sp>
      <p:sp>
        <p:nvSpPr>
          <p:cNvPr id="43" name="Rectángulo 34"/>
          <p:cNvSpPr>
            <a:spLocks noChangeArrowheads="1"/>
          </p:cNvSpPr>
          <p:nvPr/>
        </p:nvSpPr>
        <p:spPr bwMode="auto">
          <a:xfrm>
            <a:off x="3940369" y="5451385"/>
            <a:ext cx="955277" cy="451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514350">
              <a:defRPr>
                <a:solidFill>
                  <a:schemeClr val="tx1"/>
                </a:solidFill>
                <a:latin typeface="Calibri" panose="020F0502020204030204" pitchFamily="34" charset="0"/>
                <a:cs typeface="Arial" panose="020B0604020202020204" pitchFamily="34" charset="0"/>
              </a:defRPr>
            </a:lvl1pPr>
            <a:lvl2pPr marL="742950" indent="-285750" defTabSz="514350">
              <a:defRPr>
                <a:solidFill>
                  <a:schemeClr val="tx1"/>
                </a:solidFill>
                <a:latin typeface="Calibri" panose="020F0502020204030204" pitchFamily="34" charset="0"/>
                <a:cs typeface="Arial" panose="020B0604020202020204" pitchFamily="34" charset="0"/>
              </a:defRPr>
            </a:lvl2pPr>
            <a:lvl3pPr marL="1143000" indent="-228600" defTabSz="514350">
              <a:defRPr>
                <a:solidFill>
                  <a:schemeClr val="tx1"/>
                </a:solidFill>
                <a:latin typeface="Calibri" panose="020F0502020204030204" pitchFamily="34" charset="0"/>
                <a:cs typeface="Arial" panose="020B0604020202020204" pitchFamily="34" charset="0"/>
              </a:defRPr>
            </a:lvl3pPr>
            <a:lvl4pPr marL="1600200" indent="-228600" defTabSz="514350">
              <a:defRPr>
                <a:solidFill>
                  <a:schemeClr val="tx1"/>
                </a:solidFill>
                <a:latin typeface="Calibri" panose="020F0502020204030204" pitchFamily="34" charset="0"/>
                <a:cs typeface="Arial" panose="020B0604020202020204" pitchFamily="34" charset="0"/>
              </a:defRPr>
            </a:lvl4pPr>
            <a:lvl5pPr marL="2057400" indent="-228600" defTabSz="514350">
              <a:defRPr>
                <a:solidFill>
                  <a:schemeClr val="tx1"/>
                </a:solidFill>
                <a:latin typeface="Calibri" panose="020F0502020204030204" pitchFamily="34" charset="0"/>
                <a:cs typeface="Arial" panose="020B0604020202020204" pitchFamily="34" charset="0"/>
              </a:defRPr>
            </a:lvl5pPr>
            <a:lvl6pPr marL="2514600" indent="-228600" defTabSz="51435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51435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51435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51435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lnSpc>
                <a:spcPts val="1350"/>
              </a:lnSpc>
            </a:pPr>
            <a:r>
              <a:rPr lang="es-CL" altLang="es-CL" sz="1200" dirty="0"/>
              <a:t>Modelo de </a:t>
            </a:r>
          </a:p>
          <a:p>
            <a:pPr algn="ctr">
              <a:lnSpc>
                <a:spcPts val="1350"/>
              </a:lnSpc>
            </a:pPr>
            <a:r>
              <a:rPr lang="es-CL" altLang="es-CL" sz="1200" dirty="0"/>
              <a:t>Atención</a:t>
            </a:r>
            <a:endParaRPr lang="es-ES" altLang="es-CL" sz="1200" dirty="0"/>
          </a:p>
        </p:txBody>
      </p:sp>
      <p:sp>
        <p:nvSpPr>
          <p:cNvPr id="44" name="Rectángulo 34"/>
          <p:cNvSpPr>
            <a:spLocks noChangeArrowheads="1"/>
          </p:cNvSpPr>
          <p:nvPr/>
        </p:nvSpPr>
        <p:spPr bwMode="auto">
          <a:xfrm>
            <a:off x="5212353" y="4561768"/>
            <a:ext cx="955277" cy="451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514350">
              <a:defRPr>
                <a:solidFill>
                  <a:schemeClr val="tx1"/>
                </a:solidFill>
                <a:latin typeface="Calibri" panose="020F0502020204030204" pitchFamily="34" charset="0"/>
                <a:cs typeface="Arial" panose="020B0604020202020204" pitchFamily="34" charset="0"/>
              </a:defRPr>
            </a:lvl1pPr>
            <a:lvl2pPr marL="742950" indent="-285750" defTabSz="514350">
              <a:defRPr>
                <a:solidFill>
                  <a:schemeClr val="tx1"/>
                </a:solidFill>
                <a:latin typeface="Calibri" panose="020F0502020204030204" pitchFamily="34" charset="0"/>
                <a:cs typeface="Arial" panose="020B0604020202020204" pitchFamily="34" charset="0"/>
              </a:defRPr>
            </a:lvl2pPr>
            <a:lvl3pPr marL="1143000" indent="-228600" defTabSz="514350">
              <a:defRPr>
                <a:solidFill>
                  <a:schemeClr val="tx1"/>
                </a:solidFill>
                <a:latin typeface="Calibri" panose="020F0502020204030204" pitchFamily="34" charset="0"/>
                <a:cs typeface="Arial" panose="020B0604020202020204" pitchFamily="34" charset="0"/>
              </a:defRPr>
            </a:lvl3pPr>
            <a:lvl4pPr marL="1600200" indent="-228600" defTabSz="514350">
              <a:defRPr>
                <a:solidFill>
                  <a:schemeClr val="tx1"/>
                </a:solidFill>
                <a:latin typeface="Calibri" panose="020F0502020204030204" pitchFamily="34" charset="0"/>
                <a:cs typeface="Arial" panose="020B0604020202020204" pitchFamily="34" charset="0"/>
              </a:defRPr>
            </a:lvl4pPr>
            <a:lvl5pPr marL="2057400" indent="-228600" defTabSz="514350">
              <a:defRPr>
                <a:solidFill>
                  <a:schemeClr val="tx1"/>
                </a:solidFill>
                <a:latin typeface="Calibri" panose="020F0502020204030204" pitchFamily="34" charset="0"/>
                <a:cs typeface="Arial" panose="020B0604020202020204" pitchFamily="34" charset="0"/>
              </a:defRPr>
            </a:lvl5pPr>
            <a:lvl6pPr marL="2514600" indent="-228600" defTabSz="51435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51435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51435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51435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lnSpc>
                <a:spcPts val="1350"/>
              </a:lnSpc>
            </a:pPr>
            <a:r>
              <a:rPr lang="es-CL" altLang="es-CL" sz="1200" dirty="0"/>
              <a:t>Modelo Operativo</a:t>
            </a:r>
          </a:p>
        </p:txBody>
      </p:sp>
      <p:sp>
        <p:nvSpPr>
          <p:cNvPr id="45" name="Rectángulo 34"/>
          <p:cNvSpPr>
            <a:spLocks noChangeArrowheads="1"/>
          </p:cNvSpPr>
          <p:nvPr/>
        </p:nvSpPr>
        <p:spPr bwMode="auto">
          <a:xfrm>
            <a:off x="6518116" y="5451385"/>
            <a:ext cx="955277" cy="451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514350">
              <a:defRPr>
                <a:solidFill>
                  <a:schemeClr val="tx1"/>
                </a:solidFill>
                <a:latin typeface="Calibri" panose="020F0502020204030204" pitchFamily="34" charset="0"/>
                <a:cs typeface="Arial" panose="020B0604020202020204" pitchFamily="34" charset="0"/>
              </a:defRPr>
            </a:lvl1pPr>
            <a:lvl2pPr marL="742950" indent="-285750" defTabSz="514350">
              <a:defRPr>
                <a:solidFill>
                  <a:schemeClr val="tx1"/>
                </a:solidFill>
                <a:latin typeface="Calibri" panose="020F0502020204030204" pitchFamily="34" charset="0"/>
                <a:cs typeface="Arial" panose="020B0604020202020204" pitchFamily="34" charset="0"/>
              </a:defRPr>
            </a:lvl2pPr>
            <a:lvl3pPr marL="1143000" indent="-228600" defTabSz="514350">
              <a:defRPr>
                <a:solidFill>
                  <a:schemeClr val="tx1"/>
                </a:solidFill>
                <a:latin typeface="Calibri" panose="020F0502020204030204" pitchFamily="34" charset="0"/>
                <a:cs typeface="Arial" panose="020B0604020202020204" pitchFamily="34" charset="0"/>
              </a:defRPr>
            </a:lvl3pPr>
            <a:lvl4pPr marL="1600200" indent="-228600" defTabSz="514350">
              <a:defRPr>
                <a:solidFill>
                  <a:schemeClr val="tx1"/>
                </a:solidFill>
                <a:latin typeface="Calibri" panose="020F0502020204030204" pitchFamily="34" charset="0"/>
                <a:cs typeface="Arial" panose="020B0604020202020204" pitchFamily="34" charset="0"/>
              </a:defRPr>
            </a:lvl4pPr>
            <a:lvl5pPr marL="2057400" indent="-228600" defTabSz="514350">
              <a:defRPr>
                <a:solidFill>
                  <a:schemeClr val="tx1"/>
                </a:solidFill>
                <a:latin typeface="Calibri" panose="020F0502020204030204" pitchFamily="34" charset="0"/>
                <a:cs typeface="Arial" panose="020B0604020202020204" pitchFamily="34" charset="0"/>
              </a:defRPr>
            </a:lvl5pPr>
            <a:lvl6pPr marL="2514600" indent="-228600" defTabSz="51435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51435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51435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51435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lnSpc>
                <a:spcPts val="1350"/>
              </a:lnSpc>
            </a:pPr>
            <a:r>
              <a:rPr lang="es-CL" altLang="es-CL" sz="1200" dirty="0"/>
              <a:t>Modelo Tecnológico</a:t>
            </a:r>
          </a:p>
        </p:txBody>
      </p:sp>
      <p:pic>
        <p:nvPicPr>
          <p:cNvPr id="1038" name="Picture 14" descr="Impresión Digital GIF by Arias Comunicación Gráfica">
            <a:extLst>
              <a:ext uri="{FF2B5EF4-FFF2-40B4-BE49-F238E27FC236}">
                <a16:creationId xmlns:a16="http://schemas.microsoft.com/office/drawing/2014/main" id="{B5B9DD78-0B16-E582-268C-D2B624E78C9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31547" y="370454"/>
            <a:ext cx="2012453" cy="1332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79149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E4C90E-7942-E0ED-07A7-BA5DFDA9F94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BFAC997-AE67-0825-D161-F662CE8E91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233" imgH="233" progId="TCLayout.ActiveDocument.1">
                  <p:embed/>
                </p:oleObj>
              </mc:Choice>
              <mc:Fallback>
                <p:oleObj name="Diapositiva de think-cell" r:id="rId3" imgW="233" imgH="233" progId="TCLayout.ActiveDocument.1">
                  <p:embed/>
                  <p:pic>
                    <p:nvPicPr>
                      <p:cNvPr id="4" name="think-cell data - do not delete" hidden="1">
                        <a:extLst>
                          <a:ext uri="{FF2B5EF4-FFF2-40B4-BE49-F238E27FC236}">
                            <a16:creationId xmlns:a16="http://schemas.microsoft.com/office/drawing/2014/main" id="{6BFAC997-AE67-0825-D161-F662CE8E91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A7F429-3B6E-670D-712E-3985D5642B53}"/>
              </a:ext>
            </a:extLst>
          </p:cNvPr>
          <p:cNvSpPr>
            <a:spLocks noGrp="1"/>
          </p:cNvSpPr>
          <p:nvPr>
            <p:ph type="title"/>
          </p:nvPr>
        </p:nvSpPr>
        <p:spPr/>
        <p:txBody>
          <a:bodyPr vert="horz"/>
          <a:lstStyle/>
          <a:p>
            <a:r>
              <a:rPr lang="es-ES" dirty="0"/>
              <a:t>DOM</a:t>
            </a:r>
            <a:endParaRPr dirty="0"/>
          </a:p>
        </p:txBody>
      </p:sp>
      <p:sp>
        <p:nvSpPr>
          <p:cNvPr id="3" name="Content Placeholder 2">
            <a:extLst>
              <a:ext uri="{FF2B5EF4-FFF2-40B4-BE49-F238E27FC236}">
                <a16:creationId xmlns:a16="http://schemas.microsoft.com/office/drawing/2014/main" id="{5A3ECE30-CF8E-FC4D-5E68-9CBFF85AAF88}"/>
              </a:ext>
            </a:extLst>
          </p:cNvPr>
          <p:cNvSpPr>
            <a:spLocks noGrp="1"/>
          </p:cNvSpPr>
          <p:nvPr>
            <p:ph idx="1"/>
          </p:nvPr>
        </p:nvSpPr>
        <p:spPr/>
        <p:txBody>
          <a:bodyPr>
            <a:normAutofit/>
          </a:bodyPr>
          <a:lstStyle/>
          <a:p>
            <a:pPr marL="0" indent="0" algn="just">
              <a:buNone/>
            </a:pPr>
            <a:r>
              <a:rPr lang="es-ES" dirty="0"/>
              <a:t>Un modelo operativo digital es el modelo que define cómo una organización coordina sus recursos, capacidades y procesos para generar valor en un mundo digital. A diferencia de los modelos tradicionales que optimizan la eficiencia y la escalabilidad, los modelos operativos digitales optimizan la velocidad, la flexibilidad y la experiencia del cliente.</a:t>
            </a:r>
          </a:p>
          <a:p>
            <a:pPr lvl="1" algn="just"/>
            <a:endParaRPr dirty="0"/>
          </a:p>
        </p:txBody>
      </p:sp>
      <p:pic>
        <p:nvPicPr>
          <p:cNvPr id="1026" name="Picture 2" descr="Gear Engrenagem Sticker by Microduino Brasil">
            <a:extLst>
              <a:ext uri="{FF2B5EF4-FFF2-40B4-BE49-F238E27FC236}">
                <a16:creationId xmlns:a16="http://schemas.microsoft.com/office/drawing/2014/main" id="{C1FDB8FC-9C0A-03D3-2B81-81A51A59AC1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28184" y="4513846"/>
            <a:ext cx="24765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34166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264AB9-985C-BEEE-A8F2-60ADC634E38E}"/>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40D7919-219D-92B9-91EB-336777BAAAAA}"/>
              </a:ext>
            </a:extLst>
          </p:cNvPr>
          <p:cNvGraphicFramePr>
            <a:graphicFrameLocks noChangeAspect="1"/>
          </p:cNvGraphicFramePr>
          <p:nvPr>
            <p:custDataLst>
              <p:tags r:id="rId1"/>
            </p:custDataLst>
            <p:extLst>
              <p:ext uri="{D42A27DB-BD31-4B8C-83A1-F6EECF244321}">
                <p14:modId xmlns:p14="http://schemas.microsoft.com/office/powerpoint/2010/main" val="1613855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233" imgH="233" progId="TCLayout.ActiveDocument.1">
                  <p:embed/>
                </p:oleObj>
              </mc:Choice>
              <mc:Fallback>
                <p:oleObj name="Diapositiva de think-cell" r:id="rId4" imgW="233" imgH="233" progId="TCLayout.ActiveDocument.1">
                  <p:embed/>
                  <p:pic>
                    <p:nvPicPr>
                      <p:cNvPr id="3" name="think-cell data - do not delete" hidden="1">
                        <a:extLst>
                          <a:ext uri="{FF2B5EF4-FFF2-40B4-BE49-F238E27FC236}">
                            <a16:creationId xmlns:a16="http://schemas.microsoft.com/office/drawing/2014/main" id="{740D7919-219D-92B9-91EB-336777BAAA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ítulo 1">
            <a:extLst>
              <a:ext uri="{FF2B5EF4-FFF2-40B4-BE49-F238E27FC236}">
                <a16:creationId xmlns:a16="http://schemas.microsoft.com/office/drawing/2014/main" id="{1CED6E8A-7E85-C7CF-55AE-4FD7FBD1A179}"/>
              </a:ext>
            </a:extLst>
          </p:cNvPr>
          <p:cNvSpPr>
            <a:spLocks noGrp="1"/>
          </p:cNvSpPr>
          <p:nvPr>
            <p:ph type="title"/>
          </p:nvPr>
        </p:nvSpPr>
        <p:spPr>
          <a:xfrm>
            <a:off x="1403648" y="836712"/>
            <a:ext cx="6479421" cy="1049235"/>
          </a:xfrm>
        </p:spPr>
        <p:txBody>
          <a:bodyPr vert="horz">
            <a:normAutofit/>
          </a:bodyPr>
          <a:lstStyle/>
          <a:p>
            <a:r>
              <a:rPr lang="es-CL" altLang="es-CL" dirty="0">
                <a:latin typeface="Arial" panose="020B0604020202020204" pitchFamily="34" charset="0"/>
                <a:cs typeface="Arial" panose="020B0604020202020204" pitchFamily="34" charset="0"/>
              </a:rPr>
              <a:t>TD y Datos</a:t>
            </a:r>
          </a:p>
        </p:txBody>
      </p:sp>
      <p:sp>
        <p:nvSpPr>
          <p:cNvPr id="6" name="CuadroTexto 1">
            <a:extLst>
              <a:ext uri="{FF2B5EF4-FFF2-40B4-BE49-F238E27FC236}">
                <a16:creationId xmlns:a16="http://schemas.microsoft.com/office/drawing/2014/main" id="{D1E49220-9BAD-6E64-5B27-9E3E5E9DDB44}"/>
              </a:ext>
            </a:extLst>
          </p:cNvPr>
          <p:cNvSpPr txBox="1">
            <a:spLocks noChangeArrowheads="1"/>
          </p:cNvSpPr>
          <p:nvPr/>
        </p:nvSpPr>
        <p:spPr bwMode="auto">
          <a:xfrm>
            <a:off x="1259632" y="1914439"/>
            <a:ext cx="7626660" cy="76519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t">
            <a:normAutofit fontScale="25000" lnSpcReduction="20000"/>
          </a:bodyPr>
          <a:lstStyle>
            <a:lvl1pPr marL="285750" indent="-28575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indent="0" eaLnBrk="1" hangingPunct="1">
              <a:lnSpc>
                <a:spcPct val="120000"/>
              </a:lnSpc>
              <a:spcAft>
                <a:spcPts val="600"/>
              </a:spcAft>
              <a:buClr>
                <a:schemeClr val="accent1"/>
              </a:buClr>
              <a:buSzPct val="100000"/>
            </a:pPr>
            <a:r>
              <a:rPr lang="en-US" altLang="es-CL" sz="8000" dirty="0">
                <a:latin typeface="+mn-lt"/>
                <a:cs typeface="+mn-cs"/>
              </a:rPr>
              <a:t>La TD también se </a:t>
            </a:r>
            <a:r>
              <a:rPr lang="en-US" altLang="es-CL" sz="8000" dirty="0" err="1">
                <a:latin typeface="+mn-lt"/>
                <a:cs typeface="+mn-cs"/>
              </a:rPr>
              <a:t>relaciona</a:t>
            </a:r>
            <a:r>
              <a:rPr lang="en-US" altLang="es-CL" sz="8000" dirty="0">
                <a:latin typeface="+mn-lt"/>
                <a:cs typeface="+mn-cs"/>
              </a:rPr>
              <a:t> con la </a:t>
            </a:r>
            <a:r>
              <a:rPr lang="en-US" altLang="es-CL" sz="8000" dirty="0" err="1">
                <a:latin typeface="+mn-lt"/>
                <a:cs typeface="+mn-cs"/>
              </a:rPr>
              <a:t>manera</a:t>
            </a:r>
            <a:r>
              <a:rPr lang="en-US" altLang="es-CL" sz="8000" dirty="0">
                <a:latin typeface="+mn-lt"/>
                <a:cs typeface="+mn-cs"/>
              </a:rPr>
              <a:t> de </a:t>
            </a:r>
            <a:r>
              <a:rPr lang="en-US" altLang="es-CL" sz="8000" dirty="0" err="1">
                <a:latin typeface="+mn-lt"/>
                <a:cs typeface="+mn-cs"/>
              </a:rPr>
              <a:t>tomar</a:t>
            </a:r>
            <a:r>
              <a:rPr lang="en-US" altLang="es-CL" sz="8000" dirty="0">
                <a:latin typeface="+mn-lt"/>
                <a:cs typeface="+mn-cs"/>
              </a:rPr>
              <a:t> decisions, los </a:t>
            </a:r>
            <a:r>
              <a:rPr lang="en-US" altLang="es-CL" sz="8000" dirty="0" err="1">
                <a:latin typeface="+mn-lt"/>
                <a:cs typeface="+mn-cs"/>
              </a:rPr>
              <a:t>datos</a:t>
            </a:r>
            <a:r>
              <a:rPr lang="en-US" altLang="es-CL" sz="8000" dirty="0">
                <a:latin typeface="+mn-lt"/>
                <a:cs typeface="+mn-cs"/>
              </a:rPr>
              <a:t> </a:t>
            </a:r>
            <a:r>
              <a:rPr lang="en-US" altLang="es-CL" sz="8000" dirty="0" err="1">
                <a:latin typeface="+mn-lt"/>
                <a:cs typeface="+mn-cs"/>
              </a:rPr>
              <a:t>ayudan</a:t>
            </a:r>
            <a:r>
              <a:rPr lang="en-US" altLang="es-CL" sz="8000" dirty="0">
                <a:latin typeface="+mn-lt"/>
                <a:cs typeface="+mn-cs"/>
              </a:rPr>
              <a:t> a </a:t>
            </a:r>
            <a:r>
              <a:rPr lang="en-US" altLang="es-CL" sz="8000" dirty="0" err="1">
                <a:latin typeface="+mn-lt"/>
                <a:cs typeface="+mn-cs"/>
              </a:rPr>
              <a:t>priorizar</a:t>
            </a:r>
            <a:r>
              <a:rPr lang="en-US" altLang="es-CL" sz="8000" dirty="0">
                <a:latin typeface="+mn-lt"/>
                <a:cs typeface="+mn-cs"/>
              </a:rPr>
              <a:t>, a </a:t>
            </a:r>
            <a:r>
              <a:rPr lang="en-US" altLang="es-CL" sz="8000" dirty="0" err="1">
                <a:latin typeface="+mn-lt"/>
                <a:cs typeface="+mn-cs"/>
              </a:rPr>
              <a:t>proponer</a:t>
            </a:r>
            <a:r>
              <a:rPr lang="en-US" altLang="es-CL" sz="8000" dirty="0">
                <a:latin typeface="+mn-lt"/>
                <a:cs typeface="+mn-cs"/>
              </a:rPr>
              <a:t> </a:t>
            </a:r>
            <a:r>
              <a:rPr lang="en-US" altLang="es-CL" sz="8000" dirty="0" err="1">
                <a:latin typeface="+mn-lt"/>
                <a:cs typeface="+mn-cs"/>
              </a:rPr>
              <a:t>soluciones</a:t>
            </a:r>
            <a:r>
              <a:rPr lang="en-US" altLang="es-CL" sz="8000" dirty="0">
                <a:latin typeface="+mn-lt"/>
                <a:cs typeface="+mn-cs"/>
              </a:rPr>
              <a:t>, a </a:t>
            </a:r>
            <a:r>
              <a:rPr lang="en-US" altLang="es-CL" sz="8000" dirty="0" err="1">
                <a:latin typeface="+mn-lt"/>
                <a:cs typeface="+mn-cs"/>
              </a:rPr>
              <a:t>hacer</a:t>
            </a:r>
            <a:r>
              <a:rPr lang="en-US" altLang="es-CL" sz="8000" dirty="0">
                <a:latin typeface="+mn-lt"/>
                <a:cs typeface="+mn-cs"/>
              </a:rPr>
              <a:t> las </a:t>
            </a:r>
            <a:r>
              <a:rPr lang="en-US" altLang="es-CL" sz="8000" dirty="0" err="1">
                <a:latin typeface="+mn-lt"/>
                <a:cs typeface="+mn-cs"/>
              </a:rPr>
              <a:t>preguntas</a:t>
            </a:r>
            <a:r>
              <a:rPr lang="en-US" altLang="es-CL" sz="8000" dirty="0">
                <a:latin typeface="+mn-lt"/>
                <a:cs typeface="+mn-cs"/>
              </a:rPr>
              <a:t> </a:t>
            </a:r>
            <a:r>
              <a:rPr lang="en-US" altLang="es-CL" sz="8000" dirty="0" err="1">
                <a:latin typeface="+mn-lt"/>
                <a:cs typeface="+mn-cs"/>
              </a:rPr>
              <a:t>correctas</a:t>
            </a:r>
            <a:r>
              <a:rPr lang="en-US" altLang="es-CL" sz="8000" dirty="0">
                <a:latin typeface="+mn-lt"/>
                <a:cs typeface="+mn-cs"/>
              </a:rPr>
              <a:t>…</a:t>
            </a:r>
          </a:p>
          <a:p>
            <a:pPr marL="0" indent="-228600" eaLnBrk="1" hangingPunct="1">
              <a:lnSpc>
                <a:spcPct val="120000"/>
              </a:lnSpc>
              <a:spcAft>
                <a:spcPts val="600"/>
              </a:spcAft>
              <a:buClr>
                <a:schemeClr val="accent1"/>
              </a:buClr>
              <a:buSzPct val="100000"/>
              <a:buFont typeface="Arial" panose="020B0604020202020204" pitchFamily="34" charset="0"/>
              <a:buChar char="•"/>
            </a:pPr>
            <a:endParaRPr lang="en-US" altLang="es-CL" sz="1900" dirty="0">
              <a:latin typeface="+mn-lt"/>
              <a:cs typeface="+mn-cs"/>
            </a:endParaRPr>
          </a:p>
          <a:p>
            <a:pPr indent="-228600" eaLnBrk="1" hangingPunct="1">
              <a:lnSpc>
                <a:spcPct val="120000"/>
              </a:lnSpc>
              <a:spcAft>
                <a:spcPts val="600"/>
              </a:spcAft>
              <a:buClr>
                <a:schemeClr val="accent1"/>
              </a:buClr>
              <a:buSzPct val="100000"/>
              <a:buFont typeface="Arial" panose="020B0604020202020204" pitchFamily="34" charset="0"/>
              <a:buChar char="•"/>
            </a:pPr>
            <a:endParaRPr lang="en-US" altLang="es-CL" dirty="0">
              <a:latin typeface="+mn-lt"/>
              <a:cs typeface="+mn-cs"/>
            </a:endParaRPr>
          </a:p>
        </p:txBody>
      </p:sp>
      <p:pic>
        <p:nvPicPr>
          <p:cNvPr id="7170" name="Picture 2" descr="Teacher Lecturing GIF by ABCNT">
            <a:extLst>
              <a:ext uri="{FF2B5EF4-FFF2-40B4-BE49-F238E27FC236}">
                <a16:creationId xmlns:a16="http://schemas.microsoft.com/office/drawing/2014/main" id="{65818231-7C3F-0E10-CB57-0AED85CC016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2210" y="3397791"/>
            <a:ext cx="2590800" cy="1905000"/>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descr="Data Results Sticker by CaliSocial">
            <a:extLst>
              <a:ext uri="{FF2B5EF4-FFF2-40B4-BE49-F238E27FC236}">
                <a16:creationId xmlns:a16="http://schemas.microsoft.com/office/drawing/2014/main" id="{74FEF99F-AA11-6CD7-73DF-99F6AAD6583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50907" y="5050147"/>
            <a:ext cx="2845435" cy="2845435"/>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n 3">
            <a:extLst>
              <a:ext uri="{FF2B5EF4-FFF2-40B4-BE49-F238E27FC236}">
                <a16:creationId xmlns:a16="http://schemas.microsoft.com/office/drawing/2014/main" id="{BDAD12CD-8C6C-3D42-79EF-41A630C98383}"/>
              </a:ext>
            </a:extLst>
          </p:cNvPr>
          <p:cNvPicPr>
            <a:picLocks noChangeAspect="1"/>
          </p:cNvPicPr>
          <p:nvPr/>
        </p:nvPicPr>
        <p:blipFill>
          <a:blip r:embed="rId8"/>
          <a:stretch>
            <a:fillRect/>
          </a:stretch>
        </p:blipFill>
        <p:spPr>
          <a:xfrm>
            <a:off x="4067944" y="2780928"/>
            <a:ext cx="4536504" cy="3046412"/>
          </a:xfrm>
          <a:prstGeom prst="rect">
            <a:avLst/>
          </a:prstGeom>
        </p:spPr>
      </p:pic>
    </p:spTree>
    <p:extLst>
      <p:ext uri="{BB962C8B-B14F-4D97-AF65-F5344CB8AC3E}">
        <p14:creationId xmlns:p14="http://schemas.microsoft.com/office/powerpoint/2010/main" val="737836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C484EF5-6BF4-CDF7-1238-37284DDC3303}"/>
              </a:ext>
            </a:extLst>
          </p:cNvPr>
          <p:cNvGraphicFramePr>
            <a:graphicFrameLocks noChangeAspect="1"/>
          </p:cNvGraphicFramePr>
          <p:nvPr>
            <p:custDataLst>
              <p:tags r:id="rId1"/>
            </p:custDataLst>
            <p:extLst>
              <p:ext uri="{D42A27DB-BD31-4B8C-83A1-F6EECF244321}">
                <p14:modId xmlns:p14="http://schemas.microsoft.com/office/powerpoint/2010/main" val="3902451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65" imgH="365" progId="TCLayout.ActiveDocument.1">
                  <p:embed/>
                </p:oleObj>
              </mc:Choice>
              <mc:Fallback>
                <p:oleObj name="Diapositiva de think-cell" r:id="rId3" imgW="365" imgH="365" progId="TCLayout.ActiveDocument.1">
                  <p:embed/>
                  <p:pic>
                    <p:nvPicPr>
                      <p:cNvPr id="3" name="think-cell data - do not delete" hidden="1">
                        <a:extLst>
                          <a:ext uri="{FF2B5EF4-FFF2-40B4-BE49-F238E27FC236}">
                            <a16:creationId xmlns:a16="http://schemas.microsoft.com/office/drawing/2014/main" id="{3C484EF5-6BF4-CDF7-1238-37284DDC3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458" name="CuadroTexto 1"/>
          <p:cNvSpPr txBox="1">
            <a:spLocks noChangeArrowheads="1"/>
          </p:cNvSpPr>
          <p:nvPr/>
        </p:nvSpPr>
        <p:spPr bwMode="auto">
          <a:xfrm>
            <a:off x="1331640" y="1988840"/>
            <a:ext cx="7704856" cy="3416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cs typeface="Arial" panose="020B0604020202020204" pitchFamily="34" charset="0"/>
              </a:defRPr>
            </a:lvl1pPr>
            <a:lvl2pPr marL="102870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just"/>
            <a:r>
              <a:rPr lang="es-CL" altLang="es-CL" dirty="0">
                <a:latin typeface="Arial" panose="020B0604020202020204" pitchFamily="34" charset="0"/>
              </a:rPr>
              <a:t>Nuestros empleados también están cambiando, recordemos que ellos también son clientes de alguien o de nosotros mismos en muchos casos.</a:t>
            </a:r>
          </a:p>
          <a:p>
            <a:pPr algn="just"/>
            <a:endParaRPr lang="es-CL" altLang="es-CL" dirty="0">
              <a:latin typeface="Arial" panose="020B0604020202020204" pitchFamily="34" charset="0"/>
            </a:endParaRPr>
          </a:p>
          <a:p>
            <a:pPr algn="just"/>
            <a:r>
              <a:rPr lang="es-CL" altLang="es-CL" dirty="0">
                <a:latin typeface="Arial" panose="020B0604020202020204" pitchFamily="34" charset="0"/>
              </a:rPr>
              <a:t>Esto impulsa un cambio “cultural” o de “cultura organizacional” en nuestra organización ya que a los empleados también se les “fideliza” y se les genera “confianza”.</a:t>
            </a:r>
          </a:p>
          <a:p>
            <a:pPr algn="just"/>
            <a:endParaRPr lang="es-CL" altLang="es-CL" dirty="0">
              <a:latin typeface="Arial" panose="020B0604020202020204" pitchFamily="34" charset="0"/>
            </a:endParaRPr>
          </a:p>
          <a:p>
            <a:pPr algn="just"/>
            <a:r>
              <a:rPr lang="es-CL" altLang="es-CL" dirty="0">
                <a:latin typeface="Arial" panose="020B0604020202020204" pitchFamily="34" charset="0"/>
              </a:rPr>
              <a:t>No se puede transformar la empresa si no cambiamos la mentalidad de los trabajadores, debemos conseguir que los empleados adopten nuevas tecnologías, que no se nieguen al progreso, que tengan mente abierta, dispuestos a innovar y a crecer constantemente, sin embargo nosotros le cambiamos la mentalidad o ellos nos cambian a nosotros?</a:t>
            </a:r>
          </a:p>
        </p:txBody>
      </p:sp>
      <p:sp>
        <p:nvSpPr>
          <p:cNvPr id="5" name="Título 1"/>
          <p:cNvSpPr>
            <a:spLocks noGrp="1"/>
          </p:cNvSpPr>
          <p:nvPr>
            <p:ph type="title"/>
          </p:nvPr>
        </p:nvSpPr>
        <p:spPr>
          <a:xfrm>
            <a:off x="1403648" y="836712"/>
            <a:ext cx="6479421" cy="1049235"/>
          </a:xfrm>
        </p:spPr>
        <p:txBody>
          <a:bodyPr vert="horz">
            <a:normAutofit/>
          </a:bodyPr>
          <a:lstStyle/>
          <a:p>
            <a:r>
              <a:rPr lang="es-CL" altLang="es-CL" dirty="0">
                <a:latin typeface="Arial" panose="020B0604020202020204" pitchFamily="34" charset="0"/>
                <a:cs typeface="Arial" panose="020B0604020202020204" pitchFamily="34" charset="0"/>
              </a:rPr>
              <a:t>TD y Cultura Organizacional</a:t>
            </a:r>
          </a:p>
        </p:txBody>
      </p:sp>
      <p:pic>
        <p:nvPicPr>
          <p:cNvPr id="1028" name="Picture 4" descr="Robo GIF by Idealti">
            <a:extLst>
              <a:ext uri="{FF2B5EF4-FFF2-40B4-BE49-F238E27FC236}">
                <a16:creationId xmlns:a16="http://schemas.microsoft.com/office/drawing/2014/main" id="{F1FAE77E-8495-F992-2A7D-7F7DF3119C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92280" y="197888"/>
            <a:ext cx="1769315" cy="17693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67443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C22C77-2CB3-429A-7B02-BC43DC06EAF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E9A9DF6-F8B7-685F-D86F-AA694DDCE3D7}"/>
              </a:ext>
            </a:extLst>
          </p:cNvPr>
          <p:cNvGraphicFramePr>
            <a:graphicFrameLocks noChangeAspect="1"/>
          </p:cNvGraphicFramePr>
          <p:nvPr>
            <p:custDataLst>
              <p:tags r:id="rId1"/>
            </p:custDataLst>
            <p:extLst>
              <p:ext uri="{D42A27DB-BD31-4B8C-83A1-F6EECF244321}">
                <p14:modId xmlns:p14="http://schemas.microsoft.com/office/powerpoint/2010/main" val="2105630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65" imgH="365" progId="TCLayout.ActiveDocument.1">
                  <p:embed/>
                </p:oleObj>
              </mc:Choice>
              <mc:Fallback>
                <p:oleObj name="Diapositiva de think-cell" r:id="rId4" imgW="365" imgH="365" progId="TCLayout.ActiveDocument.1">
                  <p:embed/>
                  <p:pic>
                    <p:nvPicPr>
                      <p:cNvPr id="6" name="think-cell data - do not delete" hidden="1">
                        <a:extLst>
                          <a:ext uri="{FF2B5EF4-FFF2-40B4-BE49-F238E27FC236}">
                            <a16:creationId xmlns:a16="http://schemas.microsoft.com/office/drawing/2014/main" id="{0E9A9DF6-F8B7-685F-D86F-AA694DDCE3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ítulo 1">
            <a:extLst>
              <a:ext uri="{FF2B5EF4-FFF2-40B4-BE49-F238E27FC236}">
                <a16:creationId xmlns:a16="http://schemas.microsoft.com/office/drawing/2014/main" id="{3387B1EC-8E6F-2A68-97EC-A3B678BE9CCA}"/>
              </a:ext>
            </a:extLst>
          </p:cNvPr>
          <p:cNvSpPr>
            <a:spLocks noGrp="1"/>
          </p:cNvSpPr>
          <p:nvPr>
            <p:ph type="title"/>
          </p:nvPr>
        </p:nvSpPr>
        <p:spPr>
          <a:xfrm>
            <a:off x="1403648" y="836712"/>
            <a:ext cx="6479421" cy="1049235"/>
          </a:xfrm>
        </p:spPr>
        <p:txBody>
          <a:bodyPr vert="horz">
            <a:normAutofit/>
          </a:bodyPr>
          <a:lstStyle/>
          <a:p>
            <a:r>
              <a:rPr lang="es-CL" altLang="es-CL" dirty="0">
                <a:latin typeface="Arial" panose="020B0604020202020204" pitchFamily="34" charset="0"/>
                <a:cs typeface="Arial" panose="020B0604020202020204" pitchFamily="34" charset="0"/>
              </a:rPr>
              <a:t>Capacidades Digitales Tecnológicas</a:t>
            </a:r>
          </a:p>
        </p:txBody>
      </p:sp>
      <p:sp>
        <p:nvSpPr>
          <p:cNvPr id="15" name="Title 1">
            <a:extLst>
              <a:ext uri="{FF2B5EF4-FFF2-40B4-BE49-F238E27FC236}">
                <a16:creationId xmlns:a16="http://schemas.microsoft.com/office/drawing/2014/main" id="{8647A3CE-3EB1-E25B-C5CE-FA20F756F03C}"/>
              </a:ext>
            </a:extLst>
          </p:cNvPr>
          <p:cNvSpPr txBox="1">
            <a:spLocks/>
          </p:cNvSpPr>
          <p:nvPr/>
        </p:nvSpPr>
        <p:spPr>
          <a:xfrm>
            <a:off x="1475656" y="2072620"/>
            <a:ext cx="9610938" cy="3948668"/>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200" b="0" i="0" kern="1200" cap="none">
                <a:solidFill>
                  <a:schemeClr val="tx1"/>
                </a:solidFill>
                <a:effectLst/>
                <a:latin typeface="+mj-lt"/>
                <a:ea typeface="+mj-ea"/>
                <a:cs typeface="+mj-cs"/>
              </a:defRPr>
            </a:lvl1pPr>
          </a:lstStyle>
          <a:p>
            <a:pPr fontAlgn="auto">
              <a:spcAft>
                <a:spcPts val="0"/>
              </a:spcAft>
            </a:pPr>
            <a:r>
              <a:rPr lang="es-CL" sz="2000" dirty="0"/>
              <a:t>Primera Ola: Digitalización (1990–2008)</a:t>
            </a:r>
          </a:p>
          <a:p>
            <a:pPr marL="342900" indent="-342900" fontAlgn="auto">
              <a:spcAft>
                <a:spcPts val="0"/>
              </a:spcAft>
              <a:buFont typeface="Arial" panose="020B0604020202020204" pitchFamily="34" charset="0"/>
              <a:buChar char="•"/>
            </a:pPr>
            <a:r>
              <a:rPr lang="es-CL" sz="2000" dirty="0"/>
              <a:t>Enfoque en eficiencia y Control</a:t>
            </a:r>
          </a:p>
          <a:p>
            <a:pPr marL="342900" indent="-342900" fontAlgn="auto">
              <a:spcAft>
                <a:spcPts val="0"/>
              </a:spcAft>
              <a:buFont typeface="Arial" panose="020B0604020202020204" pitchFamily="34" charset="0"/>
              <a:buChar char="•"/>
            </a:pPr>
            <a:r>
              <a:rPr lang="es-CL" sz="2000" dirty="0"/>
              <a:t>Transformar procesos </a:t>
            </a:r>
            <a:r>
              <a:rPr lang="es-CL" sz="2000" dirty="0" err="1"/>
              <a:t>analógios</a:t>
            </a:r>
            <a:r>
              <a:rPr lang="es-CL" sz="2000" dirty="0"/>
              <a:t> en digitales</a:t>
            </a:r>
          </a:p>
          <a:p>
            <a:pPr marL="342900" indent="-342900" fontAlgn="auto">
              <a:spcAft>
                <a:spcPts val="0"/>
              </a:spcAft>
              <a:buFont typeface="Arial" panose="020B0604020202020204" pitchFamily="34" charset="0"/>
              <a:buChar char="•"/>
            </a:pPr>
            <a:endParaRPr lang="es-CL" sz="2000" dirty="0"/>
          </a:p>
          <a:p>
            <a:pPr fontAlgn="auto">
              <a:spcAft>
                <a:spcPts val="0"/>
              </a:spcAft>
            </a:pPr>
            <a:r>
              <a:rPr lang="es-ES" sz="2000" dirty="0"/>
              <a:t>Segunda Ola: Cloud y Agilidad (2008–2020)</a:t>
            </a:r>
          </a:p>
          <a:p>
            <a:pPr marL="342900" indent="-342900">
              <a:buFont typeface="Arial" panose="020B0604020202020204" pitchFamily="34" charset="0"/>
              <a:buChar char="•"/>
            </a:pPr>
            <a:r>
              <a:rPr lang="es-ES" sz="2000" dirty="0"/>
              <a:t>Escalabilidad y velocidad.</a:t>
            </a:r>
          </a:p>
          <a:p>
            <a:pPr marL="342900" indent="-342900">
              <a:buFont typeface="Arial" panose="020B0604020202020204" pitchFamily="34" charset="0"/>
              <a:buChar char="•"/>
            </a:pPr>
            <a:r>
              <a:rPr lang="es-ES" sz="2000" dirty="0"/>
              <a:t>Experiencia digital y omnicanalidad.</a:t>
            </a:r>
          </a:p>
          <a:p>
            <a:endParaRPr lang="es-ES" sz="2000" dirty="0"/>
          </a:p>
          <a:p>
            <a:r>
              <a:rPr lang="es-ES" sz="2000" dirty="0"/>
              <a:t>Tercera Ola: IA y Automatización Inteligente (2020–Hoy)</a:t>
            </a:r>
          </a:p>
          <a:p>
            <a:pPr marL="342900" indent="-342900">
              <a:buFont typeface="Arial" panose="020B0604020202020204" pitchFamily="34" charset="0"/>
              <a:buChar char="•"/>
            </a:pPr>
            <a:r>
              <a:rPr lang="es-ES" sz="2000" dirty="0"/>
              <a:t>Organizaciones autónomas.</a:t>
            </a:r>
          </a:p>
          <a:p>
            <a:pPr marL="342900" indent="-342900">
              <a:buFont typeface="Arial" panose="020B0604020202020204" pitchFamily="34" charset="0"/>
              <a:buChar char="•"/>
            </a:pPr>
            <a:r>
              <a:rPr lang="es-ES" sz="2000" dirty="0"/>
              <a:t>Nuevos modelos digitales.</a:t>
            </a:r>
          </a:p>
          <a:p>
            <a:pPr marL="342900" indent="-342900">
              <a:buFont typeface="Arial" panose="020B0604020202020204" pitchFamily="34" charset="0"/>
              <a:buChar char="•"/>
            </a:pPr>
            <a:r>
              <a:rPr lang="es-ES" sz="2000" dirty="0"/>
              <a:t>Inteligencia aplicada a decisiones y operaciones.</a:t>
            </a:r>
          </a:p>
          <a:p>
            <a:pPr marL="342900" indent="-342900">
              <a:buFont typeface="Arial" panose="020B0604020202020204" pitchFamily="34" charset="0"/>
              <a:buChar char="•"/>
            </a:pPr>
            <a:endParaRPr lang="es-ES" sz="2000" dirty="0"/>
          </a:p>
          <a:p>
            <a:pPr fontAlgn="auto">
              <a:spcAft>
                <a:spcPts val="0"/>
              </a:spcAft>
            </a:pPr>
            <a:endParaRPr lang="es-CL" sz="2600" dirty="0"/>
          </a:p>
        </p:txBody>
      </p:sp>
      <p:pic>
        <p:nvPicPr>
          <p:cNvPr id="1030" name="Picture 6" descr="The Internet Tech Sticker by VIP Telecom">
            <a:extLst>
              <a:ext uri="{FF2B5EF4-FFF2-40B4-BE49-F238E27FC236}">
                <a16:creationId xmlns:a16="http://schemas.microsoft.com/office/drawing/2014/main" id="{DC8D4734-C8C5-BE96-CF03-D9290AA3B7F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60232" y="218668"/>
            <a:ext cx="1853952" cy="1853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89758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E7F85F-1E39-B3F8-D472-8882A51ADC1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44B4B74-2CF5-FAEA-2C7D-38BEC36DF9FD}"/>
              </a:ext>
            </a:extLst>
          </p:cNvPr>
          <p:cNvGraphicFramePr>
            <a:graphicFrameLocks noChangeAspect="1"/>
          </p:cNvGraphicFramePr>
          <p:nvPr>
            <p:custDataLst>
              <p:tags r:id="rId1"/>
            </p:custDataLst>
            <p:extLst>
              <p:ext uri="{D42A27DB-BD31-4B8C-83A1-F6EECF244321}">
                <p14:modId xmlns:p14="http://schemas.microsoft.com/office/powerpoint/2010/main" val="2155883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65" imgH="365" progId="TCLayout.ActiveDocument.1">
                  <p:embed/>
                </p:oleObj>
              </mc:Choice>
              <mc:Fallback>
                <p:oleObj name="Diapositiva de think-cell" r:id="rId4" imgW="365" imgH="365" progId="TCLayout.ActiveDocument.1">
                  <p:embed/>
                  <p:pic>
                    <p:nvPicPr>
                      <p:cNvPr id="6" name="think-cell data - do not delete" hidden="1">
                        <a:extLst>
                          <a:ext uri="{FF2B5EF4-FFF2-40B4-BE49-F238E27FC236}">
                            <a16:creationId xmlns:a16="http://schemas.microsoft.com/office/drawing/2014/main" id="{F44B4B74-2CF5-FAEA-2C7D-38BEC36DF9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ítulo 1">
            <a:extLst>
              <a:ext uri="{FF2B5EF4-FFF2-40B4-BE49-F238E27FC236}">
                <a16:creationId xmlns:a16="http://schemas.microsoft.com/office/drawing/2014/main" id="{6BE9670F-C057-A045-3CC1-97E9CC037C97}"/>
              </a:ext>
            </a:extLst>
          </p:cNvPr>
          <p:cNvSpPr>
            <a:spLocks noGrp="1"/>
          </p:cNvSpPr>
          <p:nvPr>
            <p:ph type="title"/>
          </p:nvPr>
        </p:nvSpPr>
        <p:spPr>
          <a:xfrm>
            <a:off x="1403648" y="836712"/>
            <a:ext cx="6479421" cy="1049235"/>
          </a:xfrm>
        </p:spPr>
        <p:txBody>
          <a:bodyPr vert="horz">
            <a:normAutofit/>
          </a:bodyPr>
          <a:lstStyle/>
          <a:p>
            <a:r>
              <a:rPr lang="es-CL" altLang="es-CL" dirty="0">
                <a:latin typeface="Arial" panose="020B0604020202020204" pitchFamily="34" charset="0"/>
                <a:cs typeface="Arial" panose="020B0604020202020204" pitchFamily="34" charset="0"/>
              </a:rPr>
              <a:t>Ola 1 - Capacidades y Resultados</a:t>
            </a:r>
          </a:p>
        </p:txBody>
      </p:sp>
      <p:sp>
        <p:nvSpPr>
          <p:cNvPr id="2" name="Title 1">
            <a:extLst>
              <a:ext uri="{FF2B5EF4-FFF2-40B4-BE49-F238E27FC236}">
                <a16:creationId xmlns:a16="http://schemas.microsoft.com/office/drawing/2014/main" id="{EBEE4BB7-D675-5357-E673-D2DF718C0E35}"/>
              </a:ext>
            </a:extLst>
          </p:cNvPr>
          <p:cNvSpPr txBox="1">
            <a:spLocks/>
          </p:cNvSpPr>
          <p:nvPr/>
        </p:nvSpPr>
        <p:spPr>
          <a:xfrm>
            <a:off x="1403648" y="1124744"/>
            <a:ext cx="8208912" cy="5472608"/>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200" b="0" i="0" kern="1200" cap="none">
                <a:solidFill>
                  <a:schemeClr val="tx1"/>
                </a:solidFill>
                <a:effectLst/>
                <a:latin typeface="+mj-lt"/>
                <a:ea typeface="+mj-ea"/>
                <a:cs typeface="+mj-cs"/>
              </a:defRPr>
            </a:lvl1pPr>
          </a:lstStyle>
          <a:p>
            <a:pPr marL="342900" indent="-342900">
              <a:buFont typeface="Arial" panose="020B0604020202020204" pitchFamily="34" charset="0"/>
              <a:buChar char="•"/>
            </a:pPr>
            <a:r>
              <a:rPr lang="es-ES" sz="2000" dirty="0"/>
              <a:t>Digitalización de procesos operativos.</a:t>
            </a:r>
          </a:p>
          <a:p>
            <a:pPr marL="342900" indent="-342900">
              <a:buFont typeface="Arial" panose="020B0604020202020204" pitchFamily="34" charset="0"/>
              <a:buChar char="•"/>
            </a:pPr>
            <a:r>
              <a:rPr lang="es-ES" sz="2000" dirty="0"/>
              <a:t>Integración de sistemas</a:t>
            </a:r>
          </a:p>
          <a:p>
            <a:pPr marL="342900" indent="-342900">
              <a:buFont typeface="Arial" panose="020B0604020202020204" pitchFamily="34" charset="0"/>
              <a:buChar char="•"/>
            </a:pPr>
            <a:r>
              <a:rPr lang="es-ES" sz="2000" dirty="0"/>
              <a:t>Infraestructura tecnológica corporativa.</a:t>
            </a:r>
          </a:p>
          <a:p>
            <a:pPr marL="342900" indent="-342900">
              <a:buFont typeface="Arial" panose="020B0604020202020204" pitchFamily="34" charset="0"/>
              <a:buChar char="•"/>
            </a:pPr>
            <a:r>
              <a:rPr lang="es-ES" sz="2000" dirty="0"/>
              <a:t>Internet como plataforma de negocios.</a:t>
            </a:r>
          </a:p>
          <a:p>
            <a:pPr marL="342900" indent="-342900">
              <a:buFont typeface="Arial" panose="020B0604020202020204" pitchFamily="34" charset="0"/>
              <a:buChar char="•"/>
            </a:pPr>
            <a:r>
              <a:rPr lang="es-ES" sz="2000" dirty="0"/>
              <a:t>Gestión documental digital.</a:t>
            </a:r>
          </a:p>
          <a:p>
            <a:pPr marL="342900" indent="-342900">
              <a:buFont typeface="Arial" panose="020B0604020202020204" pitchFamily="34" charset="0"/>
              <a:buChar char="•"/>
            </a:pPr>
            <a:r>
              <a:rPr lang="es-ES" sz="2000" dirty="0"/>
              <a:t>Estandarización de datos y maestros.</a:t>
            </a:r>
          </a:p>
          <a:p>
            <a:pPr marL="342900" indent="-342900">
              <a:buFont typeface="Arial" panose="020B0604020202020204" pitchFamily="34" charset="0"/>
              <a:buChar char="•"/>
            </a:pPr>
            <a:r>
              <a:rPr lang="es-ES" sz="2000" dirty="0"/>
              <a:t>Adopción de </a:t>
            </a:r>
            <a:r>
              <a:rPr lang="es-ES" sz="2000" dirty="0" err="1"/>
              <a:t>ERPs</a:t>
            </a:r>
            <a:r>
              <a:rPr lang="es-ES" sz="2000" dirty="0"/>
              <a:t> como núcleo transaccional.</a:t>
            </a:r>
          </a:p>
          <a:p>
            <a:pPr marL="342900" indent="-342900">
              <a:buFont typeface="Arial" panose="020B0604020202020204" pitchFamily="34" charset="0"/>
              <a:buChar char="•"/>
            </a:pPr>
            <a:r>
              <a:rPr lang="es-ES" sz="2000" dirty="0"/>
              <a:t>Ciberseguridad básica.</a:t>
            </a:r>
          </a:p>
          <a:p>
            <a:pPr marL="342900" indent="-342900">
              <a:buFont typeface="Arial" panose="020B0604020202020204" pitchFamily="34" charset="0"/>
              <a:buChar char="•"/>
            </a:pPr>
            <a:r>
              <a:rPr lang="es-ES" sz="2000" dirty="0"/>
              <a:t>Analítica inicial</a:t>
            </a:r>
          </a:p>
          <a:p>
            <a:endParaRPr lang="es-ES" sz="2000" dirty="0"/>
          </a:p>
          <a:p>
            <a:pPr marL="342900" indent="-342900">
              <a:buFont typeface="Wingdings" panose="05000000000000000000" pitchFamily="2" charset="2"/>
              <a:buChar char="ü"/>
            </a:pPr>
            <a:r>
              <a:rPr lang="es-ES" sz="2000" dirty="0"/>
              <a:t>Eficiencia operativa.</a:t>
            </a:r>
          </a:p>
          <a:p>
            <a:pPr marL="342900" indent="-342900">
              <a:buFont typeface="Wingdings" panose="05000000000000000000" pitchFamily="2" charset="2"/>
              <a:buChar char="ü"/>
            </a:pPr>
            <a:r>
              <a:rPr lang="es-ES" sz="2000" dirty="0"/>
              <a:t>Procesos estandarizados.</a:t>
            </a:r>
          </a:p>
          <a:p>
            <a:pPr marL="342900" indent="-342900">
              <a:buFont typeface="Wingdings" panose="05000000000000000000" pitchFamily="2" charset="2"/>
              <a:buChar char="ü"/>
            </a:pPr>
            <a:r>
              <a:rPr lang="es-ES" sz="2000" dirty="0"/>
              <a:t>Reducción de errores y papel.</a:t>
            </a:r>
          </a:p>
          <a:p>
            <a:pPr marL="342900" indent="-342900">
              <a:buFont typeface="Wingdings" panose="05000000000000000000" pitchFamily="2" charset="2"/>
              <a:buChar char="ü"/>
            </a:pPr>
            <a:r>
              <a:rPr lang="es-ES" sz="2000" dirty="0"/>
              <a:t>Trazabilidad básica.</a:t>
            </a:r>
          </a:p>
          <a:p>
            <a:pPr marL="342900" indent="-342900">
              <a:buFont typeface="Arial" panose="020B0604020202020204" pitchFamily="34" charset="0"/>
              <a:buChar char="•"/>
            </a:pPr>
            <a:endParaRPr lang="es-ES" sz="2000" dirty="0"/>
          </a:p>
          <a:p>
            <a:pPr fontAlgn="auto">
              <a:spcAft>
                <a:spcPts val="0"/>
              </a:spcAft>
            </a:pPr>
            <a:endParaRPr lang="es-ES" dirty="0"/>
          </a:p>
        </p:txBody>
      </p:sp>
      <p:pic>
        <p:nvPicPr>
          <p:cNvPr id="3" name="Imagen 2">
            <a:extLst>
              <a:ext uri="{FF2B5EF4-FFF2-40B4-BE49-F238E27FC236}">
                <a16:creationId xmlns:a16="http://schemas.microsoft.com/office/drawing/2014/main" id="{8020E22E-3D7D-146A-AC5F-5D282C0A4A5B}"/>
              </a:ext>
            </a:extLst>
          </p:cNvPr>
          <p:cNvPicPr>
            <a:picLocks noChangeAspect="1"/>
          </p:cNvPicPr>
          <p:nvPr/>
        </p:nvPicPr>
        <p:blipFill>
          <a:blip r:embed="rId6"/>
          <a:stretch>
            <a:fillRect/>
          </a:stretch>
        </p:blipFill>
        <p:spPr>
          <a:xfrm>
            <a:off x="6012160" y="4653136"/>
            <a:ext cx="2619375" cy="1743075"/>
          </a:xfrm>
          <a:prstGeom prst="rect">
            <a:avLst/>
          </a:prstGeom>
        </p:spPr>
      </p:pic>
    </p:spTree>
    <p:extLst>
      <p:ext uri="{BB962C8B-B14F-4D97-AF65-F5344CB8AC3E}">
        <p14:creationId xmlns:p14="http://schemas.microsoft.com/office/powerpoint/2010/main" val="17980142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Agenda</a:t>
            </a:r>
          </a:p>
        </p:txBody>
      </p:sp>
      <p:sp>
        <p:nvSpPr>
          <p:cNvPr id="3" name="Content Placeholder 2"/>
          <p:cNvSpPr>
            <a:spLocks noGrp="1"/>
          </p:cNvSpPr>
          <p:nvPr>
            <p:ph idx="1"/>
          </p:nvPr>
        </p:nvSpPr>
        <p:spPr/>
        <p:txBody>
          <a:bodyPr>
            <a:normAutofit fontScale="92500" lnSpcReduction="20000"/>
          </a:bodyPr>
          <a:lstStyle/>
          <a:p>
            <a:r>
              <a:rPr lang="es-ES" dirty="0"/>
              <a:t>Introducción y Conceptos</a:t>
            </a:r>
          </a:p>
          <a:p>
            <a:pPr lvl="1"/>
            <a:r>
              <a:rPr lang="es-ES" dirty="0"/>
              <a:t>Digitalización</a:t>
            </a:r>
          </a:p>
          <a:p>
            <a:pPr lvl="1"/>
            <a:r>
              <a:rPr lang="es-ES" dirty="0"/>
              <a:t>Modelo de Negocio</a:t>
            </a:r>
          </a:p>
          <a:p>
            <a:pPr lvl="1"/>
            <a:r>
              <a:rPr lang="es-ES" dirty="0"/>
              <a:t>Experiencia de Cliente</a:t>
            </a:r>
          </a:p>
          <a:p>
            <a:r>
              <a:rPr lang="es-ES" dirty="0"/>
              <a:t>Capacidades Digitales</a:t>
            </a:r>
          </a:p>
          <a:p>
            <a:pPr lvl="1"/>
            <a:r>
              <a:rPr lang="es-ES" dirty="0"/>
              <a:t>Tecnológicas</a:t>
            </a:r>
          </a:p>
          <a:p>
            <a:pPr lvl="1"/>
            <a:r>
              <a:rPr lang="es-ES" dirty="0"/>
              <a:t>Procesos</a:t>
            </a:r>
          </a:p>
          <a:p>
            <a:pPr lvl="1"/>
            <a:r>
              <a:rPr lang="es-ES" dirty="0"/>
              <a:t>Datos</a:t>
            </a:r>
          </a:p>
          <a:p>
            <a:pPr lvl="1"/>
            <a:r>
              <a:rPr lang="es-ES" dirty="0"/>
              <a:t>Personas</a:t>
            </a:r>
          </a:p>
          <a:p>
            <a:r>
              <a:rPr lang="es-ES" dirty="0"/>
              <a:t>Conclusiones</a:t>
            </a:r>
          </a:p>
        </p:txBody>
      </p:sp>
    </p:spTree>
    <p:extLst>
      <p:ext uri="{BB962C8B-B14F-4D97-AF65-F5344CB8AC3E}">
        <p14:creationId xmlns:p14="http://schemas.microsoft.com/office/powerpoint/2010/main" val="15467713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17F930-E87B-D98E-700C-C07CFB20C942}"/>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46325B8-9363-CA22-3960-98281101F75E}"/>
              </a:ext>
            </a:extLst>
          </p:cNvPr>
          <p:cNvGraphicFramePr>
            <a:graphicFrameLocks noChangeAspect="1"/>
          </p:cNvGraphicFramePr>
          <p:nvPr>
            <p:custDataLst>
              <p:tags r:id="rId1"/>
            </p:custDataLst>
            <p:extLst>
              <p:ext uri="{D42A27DB-BD31-4B8C-83A1-F6EECF244321}">
                <p14:modId xmlns:p14="http://schemas.microsoft.com/office/powerpoint/2010/main" val="1410724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65" imgH="365" progId="TCLayout.ActiveDocument.1">
                  <p:embed/>
                </p:oleObj>
              </mc:Choice>
              <mc:Fallback>
                <p:oleObj name="Diapositiva de think-cell" r:id="rId4" imgW="365" imgH="365" progId="TCLayout.ActiveDocument.1">
                  <p:embed/>
                  <p:pic>
                    <p:nvPicPr>
                      <p:cNvPr id="6" name="think-cell data - do not delete" hidden="1">
                        <a:extLst>
                          <a:ext uri="{FF2B5EF4-FFF2-40B4-BE49-F238E27FC236}">
                            <a16:creationId xmlns:a16="http://schemas.microsoft.com/office/drawing/2014/main" id="{146325B8-9363-CA22-3960-98281101F7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ítulo 1">
            <a:extLst>
              <a:ext uri="{FF2B5EF4-FFF2-40B4-BE49-F238E27FC236}">
                <a16:creationId xmlns:a16="http://schemas.microsoft.com/office/drawing/2014/main" id="{B5065F52-32FE-54F7-BF4D-A0AAE3829409}"/>
              </a:ext>
            </a:extLst>
          </p:cNvPr>
          <p:cNvSpPr>
            <a:spLocks noGrp="1"/>
          </p:cNvSpPr>
          <p:nvPr>
            <p:ph type="title"/>
          </p:nvPr>
        </p:nvSpPr>
        <p:spPr>
          <a:xfrm>
            <a:off x="1403648" y="836712"/>
            <a:ext cx="6479421" cy="1049235"/>
          </a:xfrm>
        </p:spPr>
        <p:txBody>
          <a:bodyPr vert="horz">
            <a:normAutofit/>
          </a:bodyPr>
          <a:lstStyle/>
          <a:p>
            <a:r>
              <a:rPr lang="es-CL" altLang="es-CL" dirty="0">
                <a:latin typeface="Arial" panose="020B0604020202020204" pitchFamily="34" charset="0"/>
                <a:cs typeface="Arial" panose="020B0604020202020204" pitchFamily="34" charset="0"/>
              </a:rPr>
              <a:t>Ola 2 - Capacidades y Resultados</a:t>
            </a:r>
          </a:p>
        </p:txBody>
      </p:sp>
      <p:sp>
        <p:nvSpPr>
          <p:cNvPr id="2" name="Title 1">
            <a:extLst>
              <a:ext uri="{FF2B5EF4-FFF2-40B4-BE49-F238E27FC236}">
                <a16:creationId xmlns:a16="http://schemas.microsoft.com/office/drawing/2014/main" id="{8D4765C6-F1B9-38A2-A11D-CE76C2A47F98}"/>
              </a:ext>
            </a:extLst>
          </p:cNvPr>
          <p:cNvSpPr txBox="1">
            <a:spLocks/>
          </p:cNvSpPr>
          <p:nvPr/>
        </p:nvSpPr>
        <p:spPr>
          <a:xfrm>
            <a:off x="1331640" y="1268760"/>
            <a:ext cx="8208912" cy="5472608"/>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200" b="0" i="0" kern="1200" cap="none">
                <a:solidFill>
                  <a:schemeClr val="tx1"/>
                </a:solidFill>
                <a:effectLst/>
                <a:latin typeface="+mj-lt"/>
                <a:ea typeface="+mj-ea"/>
                <a:cs typeface="+mj-cs"/>
              </a:defRPr>
            </a:lvl1pPr>
          </a:lstStyle>
          <a:p>
            <a:pPr marL="342900" indent="-342900">
              <a:buFont typeface="Arial" panose="020B0604020202020204" pitchFamily="34" charset="0"/>
              <a:buChar char="•"/>
            </a:pPr>
            <a:r>
              <a:rPr lang="es-ES" sz="2000" dirty="0"/>
              <a:t>Computación en la nube (IaaS, PaaS, SaaS).</a:t>
            </a:r>
          </a:p>
          <a:p>
            <a:pPr marL="342900" indent="-342900">
              <a:buFont typeface="Arial" panose="020B0604020202020204" pitchFamily="34" charset="0"/>
              <a:buChar char="•"/>
            </a:pPr>
            <a:r>
              <a:rPr lang="es-ES" sz="2000" dirty="0"/>
              <a:t>Plataformas empresariales modulares (S/4, BTP).</a:t>
            </a:r>
          </a:p>
          <a:p>
            <a:pPr marL="342900" indent="-342900">
              <a:buFont typeface="Arial" panose="020B0604020202020204" pitchFamily="34" charset="0"/>
              <a:buChar char="•"/>
            </a:pPr>
            <a:r>
              <a:rPr lang="es-ES" sz="2000" dirty="0"/>
              <a:t>Movilidad avanzada.</a:t>
            </a:r>
          </a:p>
          <a:p>
            <a:pPr marL="342900" indent="-342900">
              <a:buFont typeface="Arial" panose="020B0604020202020204" pitchFamily="34" charset="0"/>
              <a:buChar char="•"/>
            </a:pPr>
            <a:r>
              <a:rPr lang="es-ES" sz="2000" dirty="0"/>
              <a:t>Omnicanalidad y experiencia digital.</a:t>
            </a:r>
          </a:p>
          <a:p>
            <a:pPr marL="342900" indent="-342900">
              <a:buFont typeface="Arial" panose="020B0604020202020204" pitchFamily="34" charset="0"/>
              <a:buChar char="•"/>
            </a:pPr>
            <a:r>
              <a:rPr lang="es-ES" sz="2000" dirty="0"/>
              <a:t>Automatización robótica (RPA).</a:t>
            </a:r>
          </a:p>
          <a:p>
            <a:pPr marL="342900" indent="-342900">
              <a:buFont typeface="Arial" panose="020B0604020202020204" pitchFamily="34" charset="0"/>
              <a:buChar char="•"/>
            </a:pPr>
            <a:r>
              <a:rPr lang="es-ES" sz="2000" dirty="0" err="1"/>
              <a:t>APIs</a:t>
            </a:r>
            <a:endParaRPr lang="es-ES" sz="2000" dirty="0"/>
          </a:p>
          <a:p>
            <a:pPr marL="342900" indent="-342900">
              <a:lnSpc>
                <a:spcPct val="100000"/>
              </a:lnSpc>
              <a:buFont typeface="Arial" panose="020B0604020202020204" pitchFamily="34" charset="0"/>
              <a:buChar char="•"/>
            </a:pPr>
            <a:r>
              <a:rPr lang="es-ES" sz="2000" dirty="0"/>
              <a:t>Analítica y Big Data.</a:t>
            </a:r>
          </a:p>
          <a:p>
            <a:pPr marL="342900" indent="-342900">
              <a:lnSpc>
                <a:spcPct val="100000"/>
              </a:lnSpc>
              <a:buFont typeface="Arial" panose="020B0604020202020204" pitchFamily="34" charset="0"/>
              <a:buChar char="•"/>
            </a:pPr>
            <a:r>
              <a:rPr lang="es-ES" sz="2000" dirty="0"/>
              <a:t>Ecosistemas digitales.</a:t>
            </a:r>
          </a:p>
          <a:p>
            <a:pPr marL="342900" indent="-342900">
              <a:lnSpc>
                <a:spcPct val="100000"/>
              </a:lnSpc>
              <a:buFont typeface="Arial" panose="020B0604020202020204" pitchFamily="34" charset="0"/>
              <a:buChar char="•"/>
            </a:pPr>
            <a:r>
              <a:rPr lang="es-ES" sz="2000" dirty="0"/>
              <a:t>Seguridad avanzada y Zero Trust inicial.</a:t>
            </a:r>
          </a:p>
          <a:p>
            <a:pPr marL="342900" indent="-342900">
              <a:lnSpc>
                <a:spcPct val="110000"/>
              </a:lnSpc>
              <a:buFont typeface="Arial" panose="020B0604020202020204" pitchFamily="34" charset="0"/>
              <a:buChar char="•"/>
            </a:pPr>
            <a:r>
              <a:rPr lang="es-ES" sz="2000" dirty="0"/>
              <a:t>Agile y DevOps.</a:t>
            </a:r>
          </a:p>
          <a:p>
            <a:endParaRPr lang="es-ES" sz="2000" dirty="0"/>
          </a:p>
          <a:p>
            <a:pPr marL="342900" indent="-342900">
              <a:buFont typeface="Wingdings" panose="05000000000000000000" pitchFamily="2" charset="2"/>
              <a:buChar char="ü"/>
            </a:pPr>
            <a:r>
              <a:rPr lang="es-ES" sz="2000" dirty="0"/>
              <a:t>Mayor flexibilidad.</a:t>
            </a:r>
          </a:p>
          <a:p>
            <a:pPr marL="342900" indent="-342900">
              <a:buFont typeface="Wingdings" panose="05000000000000000000" pitchFamily="2" charset="2"/>
              <a:buChar char="ü"/>
            </a:pPr>
            <a:r>
              <a:rPr lang="es-ES" sz="2000" dirty="0"/>
              <a:t>Optimización del time-</a:t>
            </a:r>
            <a:r>
              <a:rPr lang="es-ES" sz="2000" dirty="0" err="1"/>
              <a:t>to</a:t>
            </a:r>
            <a:r>
              <a:rPr lang="es-ES" sz="2000" dirty="0"/>
              <a:t>-</a:t>
            </a:r>
            <a:r>
              <a:rPr lang="es-ES" sz="2000" dirty="0" err="1"/>
              <a:t>market</a:t>
            </a:r>
            <a:r>
              <a:rPr lang="es-ES" sz="2000" dirty="0"/>
              <a:t>.</a:t>
            </a:r>
          </a:p>
          <a:p>
            <a:pPr marL="342900" indent="-342900">
              <a:buFont typeface="Wingdings" panose="05000000000000000000" pitchFamily="2" charset="2"/>
              <a:buChar char="ü"/>
            </a:pPr>
            <a:r>
              <a:rPr lang="es-ES" sz="2000" dirty="0"/>
              <a:t>Mejor experiencia del cliente.</a:t>
            </a:r>
          </a:p>
          <a:p>
            <a:pPr marL="342900" indent="-342900">
              <a:buFont typeface="Wingdings" panose="05000000000000000000" pitchFamily="2" charset="2"/>
              <a:buChar char="ü"/>
            </a:pPr>
            <a:endParaRPr lang="es-ES" sz="2000" dirty="0"/>
          </a:p>
          <a:p>
            <a:pPr fontAlgn="auto">
              <a:spcAft>
                <a:spcPts val="0"/>
              </a:spcAft>
            </a:pPr>
            <a:endParaRPr lang="es-ES" dirty="0"/>
          </a:p>
        </p:txBody>
      </p:sp>
      <p:pic>
        <p:nvPicPr>
          <p:cNvPr id="3" name="Picture 8" descr="thinkybox art science steam technology Sticker">
            <a:extLst>
              <a:ext uri="{FF2B5EF4-FFF2-40B4-BE49-F238E27FC236}">
                <a16:creationId xmlns:a16="http://schemas.microsoft.com/office/drawing/2014/main" id="{362F3D73-460A-0AC6-8537-BC49939A214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09767" y="4077072"/>
            <a:ext cx="1661170" cy="16611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54695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780C4A-6211-A253-7E81-E93505B30B9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FFE6F89-5656-F4BC-BD60-C7B1E3442925}"/>
              </a:ext>
            </a:extLst>
          </p:cNvPr>
          <p:cNvGraphicFramePr>
            <a:graphicFrameLocks noChangeAspect="1"/>
          </p:cNvGraphicFramePr>
          <p:nvPr>
            <p:custDataLst>
              <p:tags r:id="rId1"/>
            </p:custDataLst>
            <p:extLst>
              <p:ext uri="{D42A27DB-BD31-4B8C-83A1-F6EECF244321}">
                <p14:modId xmlns:p14="http://schemas.microsoft.com/office/powerpoint/2010/main" val="2724691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65" imgH="365" progId="TCLayout.ActiveDocument.1">
                  <p:embed/>
                </p:oleObj>
              </mc:Choice>
              <mc:Fallback>
                <p:oleObj name="Diapositiva de think-cell" r:id="rId4" imgW="365" imgH="365" progId="TCLayout.ActiveDocument.1">
                  <p:embed/>
                  <p:pic>
                    <p:nvPicPr>
                      <p:cNvPr id="6" name="think-cell data - do not delete" hidden="1">
                        <a:extLst>
                          <a:ext uri="{FF2B5EF4-FFF2-40B4-BE49-F238E27FC236}">
                            <a16:creationId xmlns:a16="http://schemas.microsoft.com/office/drawing/2014/main" id="{FFFE6F89-5656-F4BC-BD60-C7B1E34429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ítulo 1">
            <a:extLst>
              <a:ext uri="{FF2B5EF4-FFF2-40B4-BE49-F238E27FC236}">
                <a16:creationId xmlns:a16="http://schemas.microsoft.com/office/drawing/2014/main" id="{E30BA56D-FF82-E838-6D4D-5F30440A0AC6}"/>
              </a:ext>
            </a:extLst>
          </p:cNvPr>
          <p:cNvSpPr>
            <a:spLocks noGrp="1"/>
          </p:cNvSpPr>
          <p:nvPr>
            <p:ph type="title"/>
          </p:nvPr>
        </p:nvSpPr>
        <p:spPr>
          <a:xfrm>
            <a:off x="1403648" y="836712"/>
            <a:ext cx="6479421" cy="1049235"/>
          </a:xfrm>
        </p:spPr>
        <p:txBody>
          <a:bodyPr vert="horz">
            <a:normAutofit/>
          </a:bodyPr>
          <a:lstStyle/>
          <a:p>
            <a:r>
              <a:rPr lang="es-CL" altLang="es-CL" dirty="0">
                <a:latin typeface="Arial" panose="020B0604020202020204" pitchFamily="34" charset="0"/>
                <a:cs typeface="Arial" panose="020B0604020202020204" pitchFamily="34" charset="0"/>
              </a:rPr>
              <a:t>Ola 3 - Capacidades y Resultados</a:t>
            </a:r>
          </a:p>
        </p:txBody>
      </p:sp>
      <p:sp>
        <p:nvSpPr>
          <p:cNvPr id="2" name="Title 1">
            <a:extLst>
              <a:ext uri="{FF2B5EF4-FFF2-40B4-BE49-F238E27FC236}">
                <a16:creationId xmlns:a16="http://schemas.microsoft.com/office/drawing/2014/main" id="{9FBCFBE6-7087-C152-3795-6A40B35C23B8}"/>
              </a:ext>
            </a:extLst>
          </p:cNvPr>
          <p:cNvSpPr txBox="1">
            <a:spLocks/>
          </p:cNvSpPr>
          <p:nvPr/>
        </p:nvSpPr>
        <p:spPr>
          <a:xfrm>
            <a:off x="1389220" y="1196752"/>
            <a:ext cx="8208912" cy="5472608"/>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200" b="0" i="0" kern="1200" cap="none">
                <a:solidFill>
                  <a:schemeClr val="tx1"/>
                </a:solidFill>
                <a:effectLst/>
                <a:latin typeface="+mj-lt"/>
                <a:ea typeface="+mj-ea"/>
                <a:cs typeface="+mj-cs"/>
              </a:defRPr>
            </a:lvl1pPr>
          </a:lstStyle>
          <a:p>
            <a:pPr marL="342900" indent="-342900">
              <a:buFont typeface="Arial" panose="020B0604020202020204" pitchFamily="34" charset="0"/>
              <a:buChar char="•"/>
            </a:pPr>
            <a:r>
              <a:rPr lang="es-ES" sz="2000" dirty="0"/>
              <a:t>Organizaciones autónomas.</a:t>
            </a:r>
          </a:p>
          <a:p>
            <a:pPr marL="342900" indent="-342900">
              <a:buFont typeface="Arial" panose="020B0604020202020204" pitchFamily="34" charset="0"/>
              <a:buChar char="•"/>
            </a:pPr>
            <a:r>
              <a:rPr lang="es-ES" sz="2000" dirty="0"/>
              <a:t>Nuevos modelos digitales.</a:t>
            </a:r>
          </a:p>
          <a:p>
            <a:pPr marL="342900" indent="-342900">
              <a:buFont typeface="Arial" panose="020B0604020202020204" pitchFamily="34" charset="0"/>
              <a:buChar char="•"/>
            </a:pPr>
            <a:r>
              <a:rPr lang="es-ES" sz="2000" dirty="0"/>
              <a:t>Inteligencia aplicada a decisiones y operaciones.</a:t>
            </a:r>
          </a:p>
          <a:p>
            <a:pPr marL="342900" indent="-342900">
              <a:buFont typeface="Arial" panose="020B0604020202020204" pitchFamily="34" charset="0"/>
              <a:buChar char="•"/>
            </a:pPr>
            <a:r>
              <a:rPr lang="es-CL" sz="2000" dirty="0"/>
              <a:t>Arquitecturas modernas de datos.</a:t>
            </a:r>
          </a:p>
          <a:p>
            <a:pPr marL="342900" indent="-342900">
              <a:buFont typeface="Arial" panose="020B0604020202020204" pitchFamily="34" charset="0"/>
              <a:buChar char="•"/>
            </a:pPr>
            <a:r>
              <a:rPr lang="es-CL" sz="2000" dirty="0"/>
              <a:t>Plataformas hiperconectadas.</a:t>
            </a:r>
          </a:p>
          <a:p>
            <a:pPr marL="342900" indent="-342900">
              <a:buFont typeface="Arial" panose="020B0604020202020204" pitchFamily="34" charset="0"/>
              <a:buChar char="•"/>
            </a:pPr>
            <a:r>
              <a:rPr lang="es-CL" sz="2000" dirty="0"/>
              <a:t>Gemelos digitales e </a:t>
            </a:r>
            <a:r>
              <a:rPr lang="es-CL" sz="2000" dirty="0" err="1"/>
              <a:t>IoT</a:t>
            </a:r>
            <a:r>
              <a:rPr lang="es-CL" sz="2000" dirty="0"/>
              <a:t> avanzado.</a:t>
            </a:r>
          </a:p>
          <a:p>
            <a:pPr marL="342900" indent="-342900">
              <a:buFont typeface="Arial" panose="020B0604020202020204" pitchFamily="34" charset="0"/>
              <a:buChar char="•"/>
            </a:pPr>
            <a:r>
              <a:rPr lang="es-ES" sz="2000" dirty="0"/>
              <a:t>Seguridad Zero Trust plena.</a:t>
            </a:r>
          </a:p>
          <a:p>
            <a:pPr marL="342900" indent="-342900">
              <a:buFont typeface="Arial" panose="020B0604020202020204" pitchFamily="34" charset="0"/>
              <a:buChar char="•"/>
            </a:pPr>
            <a:r>
              <a:rPr lang="es-ES" sz="2000" dirty="0" err="1"/>
              <a:t>Hiperpersonalización</a:t>
            </a:r>
            <a:r>
              <a:rPr lang="es-ES" sz="2000" dirty="0"/>
              <a:t>.</a:t>
            </a:r>
          </a:p>
          <a:p>
            <a:pPr marL="342900" indent="-342900">
              <a:buFont typeface="Arial" panose="020B0604020202020204" pitchFamily="34" charset="0"/>
              <a:buChar char="•"/>
            </a:pPr>
            <a:r>
              <a:rPr lang="es-ES" sz="2000" dirty="0"/>
              <a:t>Procesos autónomos.</a:t>
            </a:r>
          </a:p>
          <a:p>
            <a:pPr marL="342900" indent="-342900">
              <a:buFont typeface="Arial" panose="020B0604020202020204" pitchFamily="34" charset="0"/>
              <a:buChar char="•"/>
            </a:pPr>
            <a:r>
              <a:rPr lang="es-ES" sz="2000" dirty="0"/>
              <a:t>Cultura data-</a:t>
            </a:r>
            <a:r>
              <a:rPr lang="es-ES" sz="2000" dirty="0" err="1"/>
              <a:t>driven</a:t>
            </a:r>
            <a:r>
              <a:rPr lang="es-ES" sz="2000" dirty="0"/>
              <a:t>.</a:t>
            </a:r>
          </a:p>
          <a:p>
            <a:endParaRPr lang="es-ES" sz="2000" dirty="0"/>
          </a:p>
          <a:p>
            <a:pPr marL="342900" indent="-342900">
              <a:lnSpc>
                <a:spcPct val="100000"/>
              </a:lnSpc>
              <a:buFont typeface="Wingdings" panose="05000000000000000000" pitchFamily="2" charset="2"/>
              <a:buChar char="ü"/>
            </a:pPr>
            <a:r>
              <a:rPr lang="es-ES" sz="2000" dirty="0"/>
              <a:t>Reducción radical de costos.</a:t>
            </a:r>
          </a:p>
          <a:p>
            <a:pPr marL="342900" indent="-342900">
              <a:lnSpc>
                <a:spcPct val="100000"/>
              </a:lnSpc>
              <a:buFont typeface="Wingdings" panose="05000000000000000000" pitchFamily="2" charset="2"/>
              <a:buChar char="ü"/>
            </a:pPr>
            <a:r>
              <a:rPr lang="es-ES" sz="2000" dirty="0"/>
              <a:t>Nuevas fuentes de ingresos.</a:t>
            </a:r>
          </a:p>
          <a:p>
            <a:pPr marL="342900" indent="-342900">
              <a:lnSpc>
                <a:spcPct val="100000"/>
              </a:lnSpc>
              <a:buFont typeface="Wingdings" panose="05000000000000000000" pitchFamily="2" charset="2"/>
              <a:buChar char="ü"/>
            </a:pPr>
            <a:r>
              <a:rPr lang="es-ES" sz="2000" dirty="0"/>
              <a:t>Aprendizaje continuo.</a:t>
            </a:r>
          </a:p>
          <a:p>
            <a:pPr marL="342900" indent="-342900">
              <a:lnSpc>
                <a:spcPct val="100000"/>
              </a:lnSpc>
              <a:buFont typeface="Wingdings" panose="05000000000000000000" pitchFamily="2" charset="2"/>
              <a:buChar char="ü"/>
            </a:pPr>
            <a:r>
              <a:rPr lang="es-ES" sz="2000" dirty="0"/>
              <a:t>Operaciones autónomas.</a:t>
            </a:r>
          </a:p>
          <a:p>
            <a:pPr fontAlgn="auto">
              <a:spcAft>
                <a:spcPts val="0"/>
              </a:spcAft>
            </a:pPr>
            <a:endParaRPr lang="es-ES" dirty="0"/>
          </a:p>
        </p:txBody>
      </p:sp>
      <p:pic>
        <p:nvPicPr>
          <p:cNvPr id="3" name="Imagen 2">
            <a:extLst>
              <a:ext uri="{FF2B5EF4-FFF2-40B4-BE49-F238E27FC236}">
                <a16:creationId xmlns:a16="http://schemas.microsoft.com/office/drawing/2014/main" id="{973AA44A-3382-E7AA-62DB-CFAF850A57BF}"/>
              </a:ext>
            </a:extLst>
          </p:cNvPr>
          <p:cNvPicPr>
            <a:picLocks noChangeAspect="1"/>
          </p:cNvPicPr>
          <p:nvPr/>
        </p:nvPicPr>
        <p:blipFill>
          <a:blip r:embed="rId6"/>
          <a:stretch>
            <a:fillRect/>
          </a:stretch>
        </p:blipFill>
        <p:spPr>
          <a:xfrm>
            <a:off x="5796136" y="4884960"/>
            <a:ext cx="2952750" cy="1552575"/>
          </a:xfrm>
          <a:prstGeom prst="rect">
            <a:avLst/>
          </a:prstGeom>
        </p:spPr>
      </p:pic>
    </p:spTree>
    <p:extLst>
      <p:ext uri="{BB962C8B-B14F-4D97-AF65-F5344CB8AC3E}">
        <p14:creationId xmlns:p14="http://schemas.microsoft.com/office/powerpoint/2010/main" val="38522002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6A5AED-97EE-2D9D-77F2-3021C518970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58E842B-38C2-0690-820C-310572650C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233" imgH="233" progId="TCLayout.ActiveDocument.1">
                  <p:embed/>
                </p:oleObj>
              </mc:Choice>
              <mc:Fallback>
                <p:oleObj name="Diapositiva de think-cell" r:id="rId3" imgW="233" imgH="233" progId="TCLayout.ActiveDocument.1">
                  <p:embed/>
                  <p:pic>
                    <p:nvPicPr>
                      <p:cNvPr id="6" name="think-cell data - do not delete" hidden="1">
                        <a:extLst>
                          <a:ext uri="{FF2B5EF4-FFF2-40B4-BE49-F238E27FC236}">
                            <a16:creationId xmlns:a16="http://schemas.microsoft.com/office/drawing/2014/main" id="{058E842B-38C2-0690-820C-310572650C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456AEE4-40F3-15AE-5530-750D27A12B36}"/>
              </a:ext>
            </a:extLst>
          </p:cNvPr>
          <p:cNvSpPr>
            <a:spLocks noGrp="1"/>
          </p:cNvSpPr>
          <p:nvPr>
            <p:ph type="title"/>
          </p:nvPr>
        </p:nvSpPr>
        <p:spPr/>
        <p:txBody>
          <a:bodyPr vert="horz"/>
          <a:lstStyle/>
          <a:p>
            <a:r>
              <a:rPr lang="es-ES" dirty="0" err="1"/>
              <a:t>Technology</a:t>
            </a:r>
            <a:r>
              <a:rPr lang="es-ES" dirty="0"/>
              <a:t> </a:t>
            </a:r>
            <a:r>
              <a:rPr lang="es-ES" dirty="0" err="1"/>
              <a:t>Readiness</a:t>
            </a:r>
            <a:r>
              <a:rPr lang="es-ES" dirty="0"/>
              <a:t> </a:t>
            </a:r>
            <a:r>
              <a:rPr lang="es-ES" dirty="0" err="1"/>
              <a:t>Level</a:t>
            </a:r>
            <a:endParaRPr dirty="0"/>
          </a:p>
        </p:txBody>
      </p:sp>
      <p:pic>
        <p:nvPicPr>
          <p:cNvPr id="11266" name="Picture 2" descr="Technology Readiness Levels ...">
            <a:extLst>
              <a:ext uri="{FF2B5EF4-FFF2-40B4-BE49-F238E27FC236}">
                <a16:creationId xmlns:a16="http://schemas.microsoft.com/office/drawing/2014/main" id="{3BE32CFC-69A6-1752-04B5-936CC5998D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31640" y="1853755"/>
            <a:ext cx="2520323" cy="4095525"/>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16313798 Vector Art at Vecteezy">
            <a:extLst>
              <a:ext uri="{FF2B5EF4-FFF2-40B4-BE49-F238E27FC236}">
                <a16:creationId xmlns:a16="http://schemas.microsoft.com/office/drawing/2014/main" id="{84C72316-64C0-C0E9-D156-FE495F7EFBB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68144" y="4705045"/>
            <a:ext cx="2926085" cy="1238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38687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663A086-B340-CD66-2A5E-4F78BEABF45C}"/>
              </a:ext>
            </a:extLst>
          </p:cNvPr>
          <p:cNvGraphicFramePr>
            <a:graphicFrameLocks noChangeAspect="1"/>
          </p:cNvGraphicFramePr>
          <p:nvPr>
            <p:custDataLst>
              <p:tags r:id="rId1"/>
            </p:custDataLst>
            <p:extLst>
              <p:ext uri="{D42A27DB-BD31-4B8C-83A1-F6EECF244321}">
                <p14:modId xmlns:p14="http://schemas.microsoft.com/office/powerpoint/2010/main" val="1117580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65" imgH="365" progId="TCLayout.ActiveDocument.1">
                  <p:embed/>
                </p:oleObj>
              </mc:Choice>
              <mc:Fallback>
                <p:oleObj name="Diapositiva de think-cell" r:id="rId3" imgW="365" imgH="365" progId="TCLayout.ActiveDocument.1">
                  <p:embed/>
                  <p:pic>
                    <p:nvPicPr>
                      <p:cNvPr id="3" name="think-cell data - do not delete" hidden="1">
                        <a:extLst>
                          <a:ext uri="{FF2B5EF4-FFF2-40B4-BE49-F238E27FC236}">
                            <a16:creationId xmlns:a16="http://schemas.microsoft.com/office/drawing/2014/main" id="{3663A086-B340-CD66-2A5E-4F78BEABF4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71" name="Rectangle 70"/>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914377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5732"/>
            <a:ext cx="9144000" cy="4118829"/>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75" name="Picture 74"/>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srcRect t="2769" b="-2769"/>
          <a:stretch/>
        </p:blipFill>
        <p:spPr>
          <a:xfrm>
            <a:off x="0" y="6135624"/>
            <a:ext cx="9144000" cy="742950"/>
          </a:xfrm>
          <a:prstGeom prst="rect">
            <a:avLst/>
          </a:prstGeom>
        </p:spPr>
      </p:pic>
      <p:cxnSp>
        <p:nvCxnSpPr>
          <p:cNvPr id="77" name="Straight Connector 76"/>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41705"/>
            <a:ext cx="9144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028765" y="798973"/>
            <a:ext cx="0" cy="1067168"/>
          </a:xfrm>
          <a:prstGeom prst="line">
            <a:avLst/>
          </a:prstGeom>
          <a:ln w="38100" cmpd="sng">
            <a:solidFill>
              <a:schemeClr val="accent1"/>
            </a:solidFill>
            <a:prstDash val="solid"/>
            <a:tailEnd type="none"/>
          </a:ln>
        </p:spPr>
        <p:style>
          <a:lnRef idx="3">
            <a:schemeClr val="accent1"/>
          </a:lnRef>
          <a:fillRef idx="0">
            <a:schemeClr val="accent1"/>
          </a:fillRef>
          <a:effectRef idx="2">
            <a:schemeClr val="accent1"/>
          </a:effectRef>
          <a:fontRef idx="minor">
            <a:schemeClr val="tx1"/>
          </a:fontRef>
        </p:style>
      </p:cxnSp>
      <p:sp>
        <p:nvSpPr>
          <p:cNvPr id="31746" name="CuadroTexto 1"/>
          <p:cNvSpPr txBox="1">
            <a:spLocks noChangeArrowheads="1"/>
          </p:cNvSpPr>
          <p:nvPr/>
        </p:nvSpPr>
        <p:spPr bwMode="auto">
          <a:xfrm>
            <a:off x="1049796" y="1995158"/>
            <a:ext cx="7626660" cy="76519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t">
            <a:normAutofit fontScale="85000" lnSpcReduction="20000"/>
          </a:bodyPr>
          <a:lstStyle>
            <a:lvl1pPr marL="285750" indent="-28575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indent="0" eaLnBrk="1" hangingPunct="1">
              <a:lnSpc>
                <a:spcPct val="120000"/>
              </a:lnSpc>
              <a:spcAft>
                <a:spcPts val="600"/>
              </a:spcAft>
              <a:buClr>
                <a:schemeClr val="accent1"/>
              </a:buClr>
              <a:buSzPct val="100000"/>
            </a:pPr>
            <a:r>
              <a:rPr lang="en-US" altLang="es-CL" sz="2200" dirty="0">
                <a:latin typeface="+mn-lt"/>
                <a:cs typeface="+mn-cs"/>
              </a:rPr>
              <a:t>La TD nos obliga a pertenecer a un Ecosistema que tiende a convertirse en un Mercado Digital Único.</a:t>
            </a:r>
          </a:p>
          <a:p>
            <a:pPr marL="0" indent="-228600" eaLnBrk="1" hangingPunct="1">
              <a:lnSpc>
                <a:spcPct val="120000"/>
              </a:lnSpc>
              <a:spcAft>
                <a:spcPts val="600"/>
              </a:spcAft>
              <a:buClr>
                <a:schemeClr val="accent1"/>
              </a:buClr>
              <a:buSzPct val="100000"/>
              <a:buFont typeface="Arial" panose="020B0604020202020204" pitchFamily="34" charset="0"/>
              <a:buChar char="•"/>
            </a:pPr>
            <a:endParaRPr lang="en-US" altLang="es-CL" b="1" dirty="0">
              <a:latin typeface="+mn-lt"/>
              <a:cs typeface="+mn-cs"/>
            </a:endParaRPr>
          </a:p>
          <a:p>
            <a:pPr indent="-228600" eaLnBrk="1" hangingPunct="1">
              <a:lnSpc>
                <a:spcPct val="120000"/>
              </a:lnSpc>
              <a:spcAft>
                <a:spcPts val="600"/>
              </a:spcAft>
              <a:buClr>
                <a:schemeClr val="accent1"/>
              </a:buClr>
              <a:buSzPct val="100000"/>
              <a:buFont typeface="Arial" panose="020B0604020202020204" pitchFamily="34" charset="0"/>
              <a:buChar char="•"/>
            </a:pPr>
            <a:endParaRPr lang="en-US" altLang="es-CL" dirty="0">
              <a:latin typeface="+mn-lt"/>
              <a:cs typeface="+mn-cs"/>
            </a:endParaRPr>
          </a:p>
        </p:txBody>
      </p:sp>
      <p:sp>
        <p:nvSpPr>
          <p:cNvPr id="10" name="Título 1">
            <a:extLst>
              <a:ext uri="{FF2B5EF4-FFF2-40B4-BE49-F238E27FC236}">
                <a16:creationId xmlns:a16="http://schemas.microsoft.com/office/drawing/2014/main" id="{20C80A6E-BB29-1370-4BAB-00D15C55C85A}"/>
              </a:ext>
            </a:extLst>
          </p:cNvPr>
          <p:cNvSpPr>
            <a:spLocks noGrp="1"/>
          </p:cNvSpPr>
          <p:nvPr>
            <p:ph type="title"/>
          </p:nvPr>
        </p:nvSpPr>
        <p:spPr>
          <a:xfrm>
            <a:off x="1403648" y="836712"/>
            <a:ext cx="6479421" cy="1049235"/>
          </a:xfrm>
        </p:spPr>
        <p:txBody>
          <a:bodyPr vert="horz">
            <a:normAutofit/>
          </a:bodyPr>
          <a:lstStyle/>
          <a:p>
            <a:r>
              <a:rPr lang="es-CL" altLang="es-CL" dirty="0">
                <a:latin typeface="Arial" panose="020B0604020202020204" pitchFamily="34" charset="0"/>
                <a:cs typeface="Arial" panose="020B0604020202020204" pitchFamily="34" charset="0"/>
              </a:rPr>
              <a:t>Ecosistema Digital</a:t>
            </a:r>
          </a:p>
        </p:txBody>
      </p:sp>
      <p:pic>
        <p:nvPicPr>
          <p:cNvPr id="8194" name="Picture 2" descr="Wildlife Conservation Earth Sticker by Katharine Kow">
            <a:extLst>
              <a:ext uri="{FF2B5EF4-FFF2-40B4-BE49-F238E27FC236}">
                <a16:creationId xmlns:a16="http://schemas.microsoft.com/office/drawing/2014/main" id="{BA08CF05-87BB-8E6D-CE63-57BBB56A07D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24129" y="3605515"/>
            <a:ext cx="2979170" cy="23005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88900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46A63A4-00B4-42F7-F0B2-187A5517698E}"/>
              </a:ext>
            </a:extLst>
          </p:cNvPr>
          <p:cNvGraphicFramePr>
            <a:graphicFrameLocks noChangeAspect="1"/>
          </p:cNvGraphicFramePr>
          <p:nvPr>
            <p:custDataLst>
              <p:tags r:id="rId1"/>
            </p:custDataLst>
            <p:extLst>
              <p:ext uri="{D42A27DB-BD31-4B8C-83A1-F6EECF244321}">
                <p14:modId xmlns:p14="http://schemas.microsoft.com/office/powerpoint/2010/main" val="500351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65" imgH="365" progId="TCLayout.ActiveDocument.1">
                  <p:embed/>
                </p:oleObj>
              </mc:Choice>
              <mc:Fallback>
                <p:oleObj name="Diapositiva de think-cell" r:id="rId3" imgW="365" imgH="365" progId="TCLayout.ActiveDocument.1">
                  <p:embed/>
                  <p:pic>
                    <p:nvPicPr>
                      <p:cNvPr id="7" name="think-cell data - do not delete" hidden="1">
                        <a:extLst>
                          <a:ext uri="{FF2B5EF4-FFF2-40B4-BE49-F238E27FC236}">
                            <a16:creationId xmlns:a16="http://schemas.microsoft.com/office/drawing/2014/main" id="{446A63A4-00B4-42F7-F0B2-187A551769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rmAutofit/>
          </a:bodyPr>
          <a:lstStyle/>
          <a:p>
            <a:r>
              <a:rPr lang="es-ES"/>
              <a:t>Lo que NO es Transformación Digital</a:t>
            </a:r>
          </a:p>
        </p:txBody>
      </p:sp>
      <p:sp>
        <p:nvSpPr>
          <p:cNvPr id="3" name="Content Placeholder 2"/>
          <p:cNvSpPr>
            <a:spLocks noGrp="1"/>
          </p:cNvSpPr>
          <p:nvPr>
            <p:ph idx="1"/>
          </p:nvPr>
        </p:nvSpPr>
        <p:spPr/>
        <p:txBody>
          <a:bodyPr/>
          <a:lstStyle/>
          <a:p>
            <a:r>
              <a:rPr lang="es-ES"/>
              <a:t>No es solo implementar tecnología</a:t>
            </a:r>
          </a:p>
          <a:p>
            <a:pPr lvl="1"/>
            <a:r>
              <a:rPr lang="es-ES"/>
              <a:t>No es responsabilidad exclusiva de TI</a:t>
            </a:r>
          </a:p>
          <a:p>
            <a:pPr lvl="1"/>
            <a:r>
              <a:rPr lang="es-ES"/>
              <a:t>No es automatización aislada</a:t>
            </a:r>
          </a:p>
          <a:p>
            <a:pPr lvl="1"/>
            <a:r>
              <a:rPr lang="es-ES"/>
              <a:t>No es un proyecto con inicio y fin</a:t>
            </a:r>
          </a:p>
          <a:p>
            <a:pPr lvl="1"/>
            <a:r>
              <a:rPr lang="es-ES"/>
              <a:t>No es copiar a otras organizaciones</a:t>
            </a:r>
          </a:p>
        </p:txBody>
      </p:sp>
      <p:pic>
        <p:nvPicPr>
          <p:cNvPr id="2050" name="Picture 2" descr="No Way Penguin GIF by Pudgy Penguins">
            <a:extLst>
              <a:ext uri="{FF2B5EF4-FFF2-40B4-BE49-F238E27FC236}">
                <a16:creationId xmlns:a16="http://schemas.microsoft.com/office/drawing/2014/main" id="{93C152C5-BBD8-BF38-2E1A-E767C0A4F2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32239" y="3839668"/>
            <a:ext cx="1947339" cy="194733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1"/>
          <p:cNvSpPr>
            <a:spLocks noGrp="1"/>
          </p:cNvSpPr>
          <p:nvPr>
            <p:ph type="title"/>
          </p:nvPr>
        </p:nvSpPr>
        <p:spPr>
          <a:xfrm>
            <a:off x="1403648" y="804520"/>
            <a:ext cx="6479421" cy="1049235"/>
          </a:xfrm>
        </p:spPr>
        <p:txBody>
          <a:bodyPr>
            <a:normAutofit/>
          </a:bodyPr>
          <a:lstStyle/>
          <a:p>
            <a:r>
              <a:rPr lang="es-CL" altLang="es-CL" dirty="0">
                <a:latin typeface="Arial" panose="020B0604020202020204" pitchFamily="34" charset="0"/>
                <a:cs typeface="Arial" panose="020B0604020202020204" pitchFamily="34" charset="0"/>
              </a:rPr>
              <a:t>En qué nos podemos enfocar para partir?</a:t>
            </a:r>
          </a:p>
        </p:txBody>
      </p:sp>
      <p:pic>
        <p:nvPicPr>
          <p:cNvPr id="2" name="Picture 1"/>
          <p:cNvPicPr>
            <a:picLocks noChangeAspect="1"/>
          </p:cNvPicPr>
          <p:nvPr/>
        </p:nvPicPr>
        <p:blipFill>
          <a:blip r:embed="rId2"/>
          <a:stretch>
            <a:fillRect/>
          </a:stretch>
        </p:blipFill>
        <p:spPr>
          <a:xfrm>
            <a:off x="6300192" y="4283770"/>
            <a:ext cx="2664673" cy="1660729"/>
          </a:xfrm>
          <a:prstGeom prst="rect">
            <a:avLst/>
          </a:prstGeom>
        </p:spPr>
      </p:pic>
      <p:sp>
        <p:nvSpPr>
          <p:cNvPr id="5" name="CuadroTexto 4">
            <a:extLst>
              <a:ext uri="{FF2B5EF4-FFF2-40B4-BE49-F238E27FC236}">
                <a16:creationId xmlns:a16="http://schemas.microsoft.com/office/drawing/2014/main" id="{B28944D9-1C34-6DE5-4900-89229D4CAABF}"/>
              </a:ext>
            </a:extLst>
          </p:cNvPr>
          <p:cNvSpPr txBox="1"/>
          <p:nvPr/>
        </p:nvSpPr>
        <p:spPr>
          <a:xfrm>
            <a:off x="1395303" y="1988840"/>
            <a:ext cx="4577442" cy="4401205"/>
          </a:xfrm>
          <a:prstGeom prst="rect">
            <a:avLst/>
          </a:prstGeom>
          <a:noFill/>
        </p:spPr>
        <p:txBody>
          <a:bodyPr wrap="square">
            <a:spAutoFit/>
          </a:bodyPr>
          <a:lstStyle/>
          <a:p>
            <a:pPr marL="342900" indent="-342900">
              <a:buFont typeface="Arial" panose="020B0604020202020204" pitchFamily="34" charset="0"/>
              <a:buChar char="•"/>
            </a:pPr>
            <a:r>
              <a:rPr lang="es-ES" sz="2000" dirty="0">
                <a:latin typeface="+mj-lt"/>
              </a:rPr>
              <a:t>Identificar la ola actual de la organización.</a:t>
            </a:r>
          </a:p>
          <a:p>
            <a:pPr marL="342900" indent="-342900">
              <a:buFont typeface="Arial" panose="020B0604020202020204" pitchFamily="34" charset="0"/>
              <a:buChar char="•"/>
            </a:pPr>
            <a:r>
              <a:rPr lang="es-ES" sz="2000" dirty="0">
                <a:latin typeface="+mj-lt"/>
              </a:rPr>
              <a:t>Cerrar brechas de la segunda ola antes de escalar IA.</a:t>
            </a:r>
          </a:p>
          <a:p>
            <a:pPr marL="342900" indent="-342900">
              <a:buFont typeface="Arial" panose="020B0604020202020204" pitchFamily="34" charset="0"/>
              <a:buChar char="•"/>
            </a:pPr>
            <a:r>
              <a:rPr lang="es-ES" sz="2000" dirty="0">
                <a:latin typeface="+mj-lt"/>
              </a:rPr>
              <a:t>Construir un Gobierno de Datos.</a:t>
            </a:r>
          </a:p>
          <a:p>
            <a:pPr marL="342900" indent="-342900">
              <a:buFont typeface="Arial" panose="020B0604020202020204" pitchFamily="34" charset="0"/>
              <a:buChar char="•"/>
            </a:pPr>
            <a:r>
              <a:rPr lang="es-ES" sz="2000" dirty="0">
                <a:latin typeface="+mj-lt"/>
              </a:rPr>
              <a:t>Completar capacidades Cloud, </a:t>
            </a:r>
            <a:r>
              <a:rPr lang="es-ES" sz="2000" dirty="0" err="1">
                <a:latin typeface="+mj-lt"/>
              </a:rPr>
              <a:t>APIs</a:t>
            </a:r>
            <a:r>
              <a:rPr lang="es-ES" sz="2000" dirty="0">
                <a:latin typeface="+mj-lt"/>
              </a:rPr>
              <a:t> y Datos.</a:t>
            </a:r>
          </a:p>
          <a:p>
            <a:pPr marL="342900" indent="-342900">
              <a:buFont typeface="Arial" panose="020B0604020202020204" pitchFamily="34" charset="0"/>
              <a:buChar char="•"/>
            </a:pPr>
            <a:r>
              <a:rPr lang="es-ES" sz="2000" dirty="0">
                <a:latin typeface="+mj-lt"/>
              </a:rPr>
              <a:t>Escalar IA de forma gobernada. (casos de uso)</a:t>
            </a:r>
          </a:p>
          <a:p>
            <a:pPr marL="342900" indent="-342900">
              <a:buFont typeface="Arial" panose="020B0604020202020204" pitchFamily="34" charset="0"/>
              <a:buChar char="•"/>
            </a:pPr>
            <a:r>
              <a:rPr lang="es-ES" sz="2000" dirty="0">
                <a:latin typeface="+mj-lt"/>
              </a:rPr>
              <a:t>Habilitar procesos autónomos y nuevos modelos digitales.</a:t>
            </a:r>
          </a:p>
          <a:p>
            <a:pPr marL="342900" indent="-342900">
              <a:buFont typeface="Arial" panose="020B0604020202020204" pitchFamily="34" charset="0"/>
              <a:buChar char="•"/>
            </a:pPr>
            <a:endParaRPr lang="es-ES" sz="2000" dirty="0">
              <a:latin typeface="+mj-lt"/>
            </a:endParaRPr>
          </a:p>
          <a:p>
            <a:pPr marL="342900" indent="-342900">
              <a:buFont typeface="Arial" panose="020B0604020202020204" pitchFamily="34" charset="0"/>
              <a:buChar char="•"/>
            </a:pPr>
            <a:r>
              <a:rPr lang="es-ES" sz="2000" u="sng" dirty="0">
                <a:latin typeface="+mj-lt"/>
              </a:rPr>
              <a:t>¡Establecer un Gobierno de la TD!</a:t>
            </a:r>
          </a:p>
          <a:p>
            <a:endParaRPr lang="es-ES" sz="2000" dirty="0">
              <a:latin typeface="+mj-lt"/>
            </a:endParaRPr>
          </a:p>
        </p:txBody>
      </p:sp>
    </p:spTree>
    <p:extLst>
      <p:ext uri="{BB962C8B-B14F-4D97-AF65-F5344CB8AC3E}">
        <p14:creationId xmlns:p14="http://schemas.microsoft.com/office/powerpoint/2010/main" val="37389306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DE9347-26F8-6B98-58EF-B9F47C4BCCEC}"/>
            </a:ext>
          </a:extLst>
        </p:cNvPr>
        <p:cNvGrpSpPr/>
        <p:nvPr/>
      </p:nvGrpSpPr>
      <p:grpSpPr>
        <a:xfrm>
          <a:off x="0" y="0"/>
          <a:ext cx="0" cy="0"/>
          <a:chOff x="0" y="0"/>
          <a:chExt cx="0" cy="0"/>
        </a:xfrm>
      </p:grpSpPr>
      <p:sp>
        <p:nvSpPr>
          <p:cNvPr id="7169" name="Subtítulo 1">
            <a:extLst>
              <a:ext uri="{FF2B5EF4-FFF2-40B4-BE49-F238E27FC236}">
                <a16:creationId xmlns:a16="http://schemas.microsoft.com/office/drawing/2014/main" id="{B94543C7-8FF2-BC75-17F9-0C2CA9FEE3C5}"/>
              </a:ext>
            </a:extLst>
          </p:cNvPr>
          <p:cNvSpPr>
            <a:spLocks noGrp="1"/>
          </p:cNvSpPr>
          <p:nvPr>
            <p:ph type="subTitle" idx="1"/>
          </p:nvPr>
        </p:nvSpPr>
        <p:spPr>
          <a:xfrm>
            <a:off x="467544" y="1628800"/>
            <a:ext cx="8496944" cy="3600400"/>
          </a:xfrm>
        </p:spPr>
        <p:txBody>
          <a:bodyPr>
            <a:noAutofit/>
          </a:bodyPr>
          <a:lstStyle/>
          <a:p>
            <a:r>
              <a:rPr lang="es-CL" altLang="es-CL" sz="9600" dirty="0">
                <a:latin typeface="Arial" panose="020B0604020202020204" pitchFamily="34" charset="0"/>
                <a:cs typeface="Arial" panose="020B0604020202020204" pitchFamily="34" charset="0"/>
              </a:rPr>
              <a:t>¡Muchas Gracias!</a:t>
            </a:r>
            <a:endParaRPr lang="es-CL" altLang="es-CL" sz="7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39441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43000" r="43000" b="100000"/>
          </a:path>
        </a:gradFill>
        <a:effectLst/>
      </p:bgPr>
    </p:bg>
    <p:spTree>
      <p:nvGrpSpPr>
        <p:cNvPr id="1" name="">
          <a:extLst>
            <a:ext uri="{FF2B5EF4-FFF2-40B4-BE49-F238E27FC236}">
              <a16:creationId xmlns:a16="http://schemas.microsoft.com/office/drawing/2014/main" id="{8BEF80E4-444A-4658-DA23-9C2FF6EDD900}"/>
            </a:ext>
          </a:extLst>
        </p:cNvPr>
        <p:cNvGrpSpPr/>
        <p:nvPr/>
      </p:nvGrpSpPr>
      <p:grpSpPr>
        <a:xfrm>
          <a:off x="0" y="0"/>
          <a:ext cx="0" cy="0"/>
          <a:chOff x="0" y="0"/>
          <a:chExt cx="0" cy="0"/>
        </a:xfrm>
      </p:grpSpPr>
      <p:sp>
        <p:nvSpPr>
          <p:cNvPr id="2065" name="Rectangle 2054">
            <a:extLst>
              <a:ext uri="{FF2B5EF4-FFF2-40B4-BE49-F238E27FC236}">
                <a16:creationId xmlns:a16="http://schemas.microsoft.com/office/drawing/2014/main" id="{CDDE5CDF-1512-4CDA-B956-23D223F8DE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9144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s-CL"/>
          </a:p>
        </p:txBody>
      </p:sp>
      <p:pic>
        <p:nvPicPr>
          <p:cNvPr id="2066" name="Picture 2056">
            <a:extLst>
              <a:ext uri="{FF2B5EF4-FFF2-40B4-BE49-F238E27FC236}">
                <a16:creationId xmlns:a16="http://schemas.microsoft.com/office/drawing/2014/main" id="{B029D7D8-5A6B-4C76-94C8-15798C6C5ADB}"/>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2">
            <a:extLst>
              <a:ext uri="{28A0092B-C50C-407E-A947-70E740481C1C}">
                <a14:useLocalDpi xmlns:a14="http://schemas.microsoft.com/office/drawing/2010/main" val="0"/>
              </a:ext>
            </a:extLst>
          </a:blip>
          <a:srcRect t="1538" b="-1538"/>
          <a:stretch/>
        </p:blipFill>
        <p:spPr bwMode="black">
          <a:xfrm>
            <a:off x="0" y="6126480"/>
            <a:ext cx="9144000" cy="742950"/>
          </a:xfrm>
          <a:prstGeom prst="rect">
            <a:avLst/>
          </a:prstGeom>
        </p:spPr>
      </p:pic>
      <p:cxnSp>
        <p:nvCxnSpPr>
          <p:cNvPr id="2067" name="Straight Connector 2058">
            <a:extLst>
              <a:ext uri="{FF2B5EF4-FFF2-40B4-BE49-F238E27FC236}">
                <a16:creationId xmlns:a16="http://schemas.microsoft.com/office/drawing/2014/main" id="{A5C9319C-E20D-4884-952F-60B6A58C3E34}"/>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28413"/>
            <a:ext cx="9144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sp>
        <p:nvSpPr>
          <p:cNvPr id="2068" name="Rectangle 2060">
            <a:extLst>
              <a:ext uri="{FF2B5EF4-FFF2-40B4-BE49-F238E27FC236}">
                <a16:creationId xmlns:a16="http://schemas.microsoft.com/office/drawing/2014/main" id="{B6E6531A-0776-43BA-A852-5FB5C77534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67063" y="533400"/>
            <a:ext cx="6809874" cy="5077326"/>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69" name="Rectangle 2062">
            <a:extLst>
              <a:ext uri="{FF2B5EF4-FFF2-40B4-BE49-F238E27FC236}">
                <a16:creationId xmlns:a16="http://schemas.microsoft.com/office/drawing/2014/main" id="{F8C5273F-2B84-46BF-A94F-1A20E13B3A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38453" y="763203"/>
            <a:ext cx="6467094" cy="4617720"/>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050" name="Picture 2" descr="jordi baste robot GIF by No pot ser! TV3">
            <a:extLst>
              <a:ext uri="{FF2B5EF4-FFF2-40B4-BE49-F238E27FC236}">
                <a16:creationId xmlns:a16="http://schemas.microsoft.com/office/drawing/2014/main" id="{0C462266-3EAF-BC0B-C700-6190A2523CC9}"/>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701927" y="1459662"/>
            <a:ext cx="5740146" cy="3224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78776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7FEDA4-F115-67E2-EF48-EDED3FD32881}"/>
            </a:ext>
          </a:extLst>
        </p:cNvPr>
        <p:cNvGrpSpPr/>
        <p:nvPr/>
      </p:nvGrpSpPr>
      <p:grpSpPr>
        <a:xfrm>
          <a:off x="0" y="0"/>
          <a:ext cx="0" cy="0"/>
          <a:chOff x="0" y="0"/>
          <a:chExt cx="0" cy="0"/>
        </a:xfrm>
      </p:grpSpPr>
      <p:sp>
        <p:nvSpPr>
          <p:cNvPr id="7169" name="Subtítulo 1">
            <a:extLst>
              <a:ext uri="{FF2B5EF4-FFF2-40B4-BE49-F238E27FC236}">
                <a16:creationId xmlns:a16="http://schemas.microsoft.com/office/drawing/2014/main" id="{3F4614EE-D337-FE26-0DFC-F8C03980D194}"/>
              </a:ext>
            </a:extLst>
          </p:cNvPr>
          <p:cNvSpPr>
            <a:spLocks noGrp="1"/>
          </p:cNvSpPr>
          <p:nvPr>
            <p:ph type="subTitle" idx="1"/>
          </p:nvPr>
        </p:nvSpPr>
        <p:spPr>
          <a:xfrm>
            <a:off x="323528" y="2564904"/>
            <a:ext cx="8496944" cy="1584176"/>
          </a:xfrm>
        </p:spPr>
        <p:txBody>
          <a:bodyPr>
            <a:noAutofit/>
          </a:bodyPr>
          <a:lstStyle/>
          <a:p>
            <a:r>
              <a:rPr lang="es-CL" altLang="es-CL" sz="9600" dirty="0">
                <a:latin typeface="Arial" panose="020B0604020202020204" pitchFamily="34" charset="0"/>
                <a:cs typeface="Arial" panose="020B0604020202020204" pitchFamily="34" charset="0"/>
              </a:rPr>
              <a:t>3.070.000.000</a:t>
            </a:r>
            <a:endParaRPr lang="es-CL" altLang="es-CL" sz="7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59102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070E3B4-C154-01A6-7269-885BEC8221BC}"/>
              </a:ext>
            </a:extLst>
          </p:cNvPr>
          <p:cNvGraphicFramePr>
            <a:graphicFrameLocks noChangeAspect="1"/>
          </p:cNvGraphicFramePr>
          <p:nvPr>
            <p:custDataLst>
              <p:tags r:id="rId1"/>
            </p:custDataLst>
            <p:extLst>
              <p:ext uri="{D42A27DB-BD31-4B8C-83A1-F6EECF244321}">
                <p14:modId xmlns:p14="http://schemas.microsoft.com/office/powerpoint/2010/main" val="4046306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65" imgH="365" progId="TCLayout.ActiveDocument.1">
                  <p:embed/>
                </p:oleObj>
              </mc:Choice>
              <mc:Fallback>
                <p:oleObj name="Diapositiva de think-cell" r:id="rId3" imgW="365" imgH="365" progId="TCLayout.ActiveDocument.1">
                  <p:embed/>
                  <p:pic>
                    <p:nvPicPr>
                      <p:cNvPr id="2" name="think-cell data - do not delete" hidden="1">
                        <a:extLst>
                          <a:ext uri="{FF2B5EF4-FFF2-40B4-BE49-F238E27FC236}">
                            <a16:creationId xmlns:a16="http://schemas.microsoft.com/office/drawing/2014/main" id="{8070E3B4-C154-01A6-7269-885BEC8221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ítulo 1"/>
          <p:cNvSpPr>
            <a:spLocks noGrp="1"/>
          </p:cNvSpPr>
          <p:nvPr>
            <p:ph type="title"/>
          </p:nvPr>
        </p:nvSpPr>
        <p:spPr>
          <a:xfrm>
            <a:off x="1399873" y="816991"/>
            <a:ext cx="6479421" cy="1049235"/>
          </a:xfrm>
        </p:spPr>
        <p:txBody>
          <a:bodyPr vert="horz">
            <a:normAutofit/>
          </a:bodyPr>
          <a:lstStyle/>
          <a:p>
            <a:r>
              <a:rPr lang="es-CL" altLang="es-CL" dirty="0">
                <a:latin typeface="Arial" panose="020B0604020202020204" pitchFamily="34" charset="0"/>
                <a:cs typeface="Arial" panose="020B0604020202020204" pitchFamily="34" charset="0"/>
              </a:rPr>
              <a:t>Qué es la TD?</a:t>
            </a:r>
          </a:p>
        </p:txBody>
      </p:sp>
      <p:sp>
        <p:nvSpPr>
          <p:cNvPr id="5" name="Anillo 5"/>
          <p:cNvSpPr/>
          <p:nvPr/>
        </p:nvSpPr>
        <p:spPr>
          <a:xfrm>
            <a:off x="4067944" y="1478165"/>
            <a:ext cx="4446505" cy="4471115"/>
          </a:xfrm>
          <a:prstGeom prst="donut">
            <a:avLst>
              <a:gd name="adj" fmla="val 6265"/>
            </a:avLst>
          </a:prstGeom>
          <a:ln>
            <a:solidFill>
              <a:schemeClr val="accent2">
                <a:lumMod val="75000"/>
              </a:schemeClr>
            </a:solidFill>
          </a:ln>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endParaRPr lang="es-CL" altLang="es-CL">
              <a:solidFill>
                <a:srgbClr val="FFFFFF"/>
              </a:solidFill>
            </a:endParaRPr>
          </a:p>
        </p:txBody>
      </p:sp>
      <p:sp>
        <p:nvSpPr>
          <p:cNvPr id="6" name="CuadroTexto 6"/>
          <p:cNvSpPr txBox="1"/>
          <p:nvPr/>
        </p:nvSpPr>
        <p:spPr>
          <a:xfrm>
            <a:off x="4246229" y="1658685"/>
            <a:ext cx="4099122" cy="4121809"/>
          </a:xfrm>
          <a:prstGeom prst="rect">
            <a:avLst/>
          </a:prstGeom>
          <a:noFill/>
        </p:spPr>
        <p:txBody>
          <a:bodyPr spcFirstLastPara="1" wrap="none">
            <a:prstTxWarp prst="textArchUp">
              <a:avLst>
                <a:gd name="adj" fmla="val 10804222"/>
              </a:avLst>
            </a:prstTxWarp>
            <a:spAutoFit/>
          </a:bodyPr>
          <a:lstStyle/>
          <a:p>
            <a:pPr algn="ctr">
              <a:defRPr/>
            </a:pPr>
            <a:r>
              <a:rPr lang="es-CL" dirty="0">
                <a:solidFill>
                  <a:schemeClr val="bg1">
                    <a:lumMod val="95000"/>
                  </a:schemeClr>
                </a:solidFill>
                <a:latin typeface="Calibri" charset="0"/>
                <a:ea typeface="Arial" charset="0"/>
                <a:cs typeface="Arial" charset="0"/>
              </a:rPr>
              <a:t>Visión de la Transformación Digital</a:t>
            </a:r>
          </a:p>
        </p:txBody>
      </p:sp>
      <p:grpSp>
        <p:nvGrpSpPr>
          <p:cNvPr id="7" name="Grupo 7"/>
          <p:cNvGrpSpPr>
            <a:grpSpLocks/>
          </p:cNvGrpSpPr>
          <p:nvPr/>
        </p:nvGrpSpPr>
        <p:grpSpPr bwMode="auto">
          <a:xfrm>
            <a:off x="4353902" y="1767223"/>
            <a:ext cx="3890525" cy="3912057"/>
            <a:chOff x="3519464" y="1272648"/>
            <a:chExt cx="5040000" cy="5040000"/>
          </a:xfrm>
        </p:grpSpPr>
        <p:sp>
          <p:nvSpPr>
            <p:cNvPr id="8" name="Anillo 8"/>
            <p:cNvSpPr/>
            <p:nvPr/>
          </p:nvSpPr>
          <p:spPr>
            <a:xfrm>
              <a:off x="3519464" y="1272648"/>
              <a:ext cx="5040000" cy="5040000"/>
            </a:xfrm>
            <a:prstGeom prst="donut">
              <a:avLst>
                <a:gd name="adj" fmla="val 7390"/>
              </a:avLst>
            </a:prstGeom>
            <a:gradFill>
              <a:gsLst>
                <a:gs pos="0">
                  <a:srgbClr val="C77346"/>
                </a:gs>
                <a:gs pos="50000">
                  <a:srgbClr val="CB6521"/>
                </a:gs>
                <a:gs pos="100000">
                  <a:srgbClr val="BD5813"/>
                </a:gs>
              </a:gsLst>
            </a:gradFill>
            <a:ln>
              <a:solidFill>
                <a:srgbClr val="9E480E"/>
              </a:solidFill>
            </a:ln>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endParaRPr lang="es-CL" altLang="es-CL">
                <a:solidFill>
                  <a:srgbClr val="FFFFFF"/>
                </a:solidFill>
              </a:endParaRPr>
            </a:p>
          </p:txBody>
        </p:sp>
        <p:sp>
          <p:nvSpPr>
            <p:cNvPr id="9" name="CuadroTexto 9"/>
            <p:cNvSpPr txBox="1"/>
            <p:nvPr/>
          </p:nvSpPr>
          <p:spPr>
            <a:xfrm>
              <a:off x="3744000" y="1503586"/>
              <a:ext cx="4590000" cy="4590000"/>
            </a:xfrm>
            <a:prstGeom prst="rect">
              <a:avLst/>
            </a:prstGeom>
            <a:noFill/>
          </p:spPr>
          <p:txBody>
            <a:bodyPr spcFirstLastPara="1" wrap="none">
              <a:prstTxWarp prst="textArchUp">
                <a:avLst>
                  <a:gd name="adj" fmla="val 10804222"/>
                </a:avLst>
              </a:prstTxWarp>
              <a:spAutoFit/>
            </a:bodyPr>
            <a:lstStyle/>
            <a:p>
              <a:pPr algn="ctr">
                <a:defRPr/>
              </a:pPr>
              <a:r>
                <a:rPr lang="es-CL" dirty="0">
                  <a:solidFill>
                    <a:schemeClr val="bg1">
                      <a:lumMod val="95000"/>
                    </a:schemeClr>
                  </a:solidFill>
                  <a:latin typeface="Calibri" charset="0"/>
                  <a:ea typeface="Arial" charset="0"/>
                  <a:cs typeface="Arial" charset="0"/>
                </a:rPr>
                <a:t>Roadmap Iterativo de Transformación Digital</a:t>
              </a:r>
            </a:p>
          </p:txBody>
        </p:sp>
      </p:grpSp>
      <p:grpSp>
        <p:nvGrpSpPr>
          <p:cNvPr id="10" name="Grupo 10"/>
          <p:cNvGrpSpPr>
            <a:grpSpLocks/>
          </p:cNvGrpSpPr>
          <p:nvPr/>
        </p:nvGrpSpPr>
        <p:grpSpPr bwMode="auto">
          <a:xfrm>
            <a:off x="4639584" y="2055980"/>
            <a:ext cx="3334969" cy="3353426"/>
            <a:chOff x="3879464" y="1632648"/>
            <a:chExt cx="4320000" cy="4320000"/>
          </a:xfrm>
        </p:grpSpPr>
        <p:sp>
          <p:nvSpPr>
            <p:cNvPr id="11" name="Arco de bloque 11"/>
            <p:cNvSpPr/>
            <p:nvPr/>
          </p:nvSpPr>
          <p:spPr>
            <a:xfrm>
              <a:off x="3879464" y="1632648"/>
              <a:ext cx="4320000" cy="4320000"/>
            </a:xfrm>
            <a:prstGeom prst="blockArc">
              <a:avLst>
                <a:gd name="adj1" fmla="val 10800000"/>
                <a:gd name="adj2" fmla="val 16183653"/>
                <a:gd name="adj3" fmla="val 8271"/>
              </a:avLst>
            </a:prstGeom>
            <a:gradFill>
              <a:gsLst>
                <a:gs pos="0">
                  <a:srgbClr val="9D5A37"/>
                </a:gs>
                <a:gs pos="50000">
                  <a:srgbClr val="A04F1A"/>
                </a:gs>
                <a:gs pos="100000">
                  <a:srgbClr val="95450F"/>
                </a:gs>
              </a:gsLst>
            </a:gradFill>
            <a:ln>
              <a:solidFill>
                <a:srgbClr val="6B3109"/>
              </a:solidFill>
            </a:ln>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endParaRPr lang="es-CL" altLang="es-CL">
                <a:solidFill>
                  <a:srgbClr val="FFFFFF"/>
                </a:solidFill>
              </a:endParaRPr>
            </a:p>
          </p:txBody>
        </p:sp>
        <p:sp>
          <p:nvSpPr>
            <p:cNvPr id="12" name="CuadroTexto 12"/>
            <p:cNvSpPr txBox="1"/>
            <p:nvPr/>
          </p:nvSpPr>
          <p:spPr>
            <a:xfrm rot="18900000">
              <a:off x="4104462" y="1857646"/>
              <a:ext cx="3870000" cy="3870000"/>
            </a:xfrm>
            <a:prstGeom prst="rect">
              <a:avLst/>
            </a:prstGeom>
            <a:noFill/>
          </p:spPr>
          <p:txBody>
            <a:bodyPr spcFirstLastPara="1" wrap="none">
              <a:prstTxWarp prst="textArchUp">
                <a:avLst>
                  <a:gd name="adj" fmla="val 10804222"/>
                </a:avLst>
              </a:prstTxWarp>
              <a:spAutoFit/>
            </a:bodyPr>
            <a:lstStyle/>
            <a:p>
              <a:pPr algn="ctr">
                <a:defRPr/>
              </a:pPr>
              <a:r>
                <a:rPr lang="es-CL" dirty="0">
                  <a:solidFill>
                    <a:schemeClr val="bg1">
                      <a:lumMod val="95000"/>
                    </a:schemeClr>
                  </a:solidFill>
                  <a:latin typeface="Calibri" charset="0"/>
                  <a:ea typeface="Arial" charset="0"/>
                  <a:cs typeface="Arial" charset="0"/>
                </a:rPr>
                <a:t>Compromiso Digital</a:t>
              </a:r>
            </a:p>
          </p:txBody>
        </p:sp>
      </p:grpSp>
      <p:grpSp>
        <p:nvGrpSpPr>
          <p:cNvPr id="13" name="Grupo 13"/>
          <p:cNvGrpSpPr>
            <a:grpSpLocks/>
          </p:cNvGrpSpPr>
          <p:nvPr/>
        </p:nvGrpSpPr>
        <p:grpSpPr bwMode="auto">
          <a:xfrm>
            <a:off x="4641173" y="2057566"/>
            <a:ext cx="3334968" cy="3353427"/>
            <a:chOff x="3880800" y="1634400"/>
            <a:chExt cx="4320000" cy="4320000"/>
          </a:xfrm>
        </p:grpSpPr>
        <p:sp>
          <p:nvSpPr>
            <p:cNvPr id="14" name="Arco de bloque 14"/>
            <p:cNvSpPr/>
            <p:nvPr/>
          </p:nvSpPr>
          <p:spPr>
            <a:xfrm rot="16200000">
              <a:off x="3880800" y="1634400"/>
              <a:ext cx="4320000" cy="4320000"/>
            </a:xfrm>
            <a:prstGeom prst="blockArc">
              <a:avLst>
                <a:gd name="adj1" fmla="val 10800000"/>
                <a:gd name="adj2" fmla="val 16183653"/>
                <a:gd name="adj3" fmla="val 8271"/>
              </a:avLst>
            </a:prstGeom>
            <a:gradFill>
              <a:gsLst>
                <a:gs pos="0">
                  <a:srgbClr val="9D5A37"/>
                </a:gs>
                <a:gs pos="50000">
                  <a:srgbClr val="A04F1A"/>
                </a:gs>
                <a:gs pos="100000">
                  <a:srgbClr val="95450F"/>
                </a:gs>
              </a:gsLst>
            </a:gradFill>
            <a:ln>
              <a:solidFill>
                <a:srgbClr val="6B3109"/>
              </a:solidFill>
            </a:ln>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endParaRPr lang="es-CL" altLang="es-CL">
                <a:solidFill>
                  <a:srgbClr val="FFFFFF"/>
                </a:solidFill>
              </a:endParaRPr>
            </a:p>
          </p:txBody>
        </p:sp>
        <p:sp>
          <p:nvSpPr>
            <p:cNvPr id="15" name="CuadroTexto 15"/>
            <p:cNvSpPr txBox="1"/>
            <p:nvPr/>
          </p:nvSpPr>
          <p:spPr>
            <a:xfrm rot="2700000">
              <a:off x="4044865" y="1804692"/>
              <a:ext cx="3960000" cy="4014000"/>
            </a:xfrm>
            <a:prstGeom prst="rect">
              <a:avLst/>
            </a:prstGeom>
            <a:noFill/>
          </p:spPr>
          <p:txBody>
            <a:bodyPr spcFirstLastPara="1" wrap="none">
              <a:prstTxWarp prst="textArchDown">
                <a:avLst/>
              </a:prstTxWarp>
              <a:spAutoFit/>
            </a:bodyPr>
            <a:lstStyle/>
            <a:p>
              <a:pPr algn="ctr">
                <a:defRPr/>
              </a:pPr>
              <a:r>
                <a:rPr lang="es-CL" dirty="0">
                  <a:solidFill>
                    <a:schemeClr val="bg1">
                      <a:lumMod val="95000"/>
                    </a:schemeClr>
                  </a:solidFill>
                  <a:latin typeface="Calibri" charset="0"/>
                  <a:ea typeface="Arial" charset="0"/>
                  <a:cs typeface="Arial" charset="0"/>
                </a:rPr>
                <a:t>Activos Estratégicos</a:t>
              </a:r>
            </a:p>
          </p:txBody>
        </p:sp>
      </p:grpSp>
      <p:grpSp>
        <p:nvGrpSpPr>
          <p:cNvPr id="16" name="Grupo 16"/>
          <p:cNvGrpSpPr>
            <a:grpSpLocks/>
          </p:cNvGrpSpPr>
          <p:nvPr/>
        </p:nvGrpSpPr>
        <p:grpSpPr bwMode="auto">
          <a:xfrm>
            <a:off x="4641173" y="2057566"/>
            <a:ext cx="3334968" cy="3353427"/>
            <a:chOff x="3880800" y="1634400"/>
            <a:chExt cx="4320000" cy="4320000"/>
          </a:xfrm>
        </p:grpSpPr>
        <p:sp>
          <p:nvSpPr>
            <p:cNvPr id="17" name="Arco de bloque 17"/>
            <p:cNvSpPr/>
            <p:nvPr/>
          </p:nvSpPr>
          <p:spPr>
            <a:xfrm rot="10800000">
              <a:off x="3880800" y="1634400"/>
              <a:ext cx="4320000" cy="4320000"/>
            </a:xfrm>
            <a:prstGeom prst="blockArc">
              <a:avLst>
                <a:gd name="adj1" fmla="val 10800000"/>
                <a:gd name="adj2" fmla="val 16183653"/>
                <a:gd name="adj3" fmla="val 8271"/>
              </a:avLst>
            </a:prstGeom>
            <a:gradFill>
              <a:gsLst>
                <a:gs pos="0">
                  <a:srgbClr val="9D5A37"/>
                </a:gs>
                <a:gs pos="50000">
                  <a:srgbClr val="A04F1A"/>
                </a:gs>
                <a:gs pos="100000">
                  <a:srgbClr val="95450F"/>
                </a:gs>
              </a:gsLst>
            </a:gradFill>
            <a:ln>
              <a:solidFill>
                <a:srgbClr val="6B3109"/>
              </a:solidFill>
            </a:ln>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endParaRPr lang="es-CL" altLang="es-CL">
                <a:solidFill>
                  <a:srgbClr val="FFFFFF"/>
                </a:solidFill>
              </a:endParaRPr>
            </a:p>
          </p:txBody>
        </p:sp>
        <p:sp>
          <p:nvSpPr>
            <p:cNvPr id="18" name="CuadroTexto 18"/>
            <p:cNvSpPr txBox="1"/>
            <p:nvPr/>
          </p:nvSpPr>
          <p:spPr>
            <a:xfrm rot="18900000">
              <a:off x="4075395" y="1804692"/>
              <a:ext cx="3960000" cy="4014000"/>
            </a:xfrm>
            <a:prstGeom prst="rect">
              <a:avLst/>
            </a:prstGeom>
            <a:noFill/>
          </p:spPr>
          <p:txBody>
            <a:bodyPr spcFirstLastPara="1" wrap="none">
              <a:prstTxWarp prst="textArchDown">
                <a:avLst/>
              </a:prstTxWarp>
              <a:spAutoFit/>
            </a:bodyPr>
            <a:lstStyle/>
            <a:p>
              <a:pPr algn="ctr">
                <a:defRPr/>
              </a:pPr>
              <a:r>
                <a:rPr lang="es-CL" dirty="0">
                  <a:solidFill>
                    <a:schemeClr val="bg1">
                      <a:lumMod val="95000"/>
                    </a:schemeClr>
                  </a:solidFill>
                  <a:latin typeface="Calibri" charset="0"/>
                  <a:ea typeface="Arial" charset="0"/>
                  <a:cs typeface="Arial" charset="0"/>
                </a:rPr>
                <a:t>Inversión Digital</a:t>
              </a:r>
            </a:p>
          </p:txBody>
        </p:sp>
      </p:grpSp>
      <p:grpSp>
        <p:nvGrpSpPr>
          <p:cNvPr id="19" name="Grupo 19"/>
          <p:cNvGrpSpPr>
            <a:grpSpLocks/>
          </p:cNvGrpSpPr>
          <p:nvPr/>
        </p:nvGrpSpPr>
        <p:grpSpPr bwMode="auto">
          <a:xfrm>
            <a:off x="4630059" y="2046455"/>
            <a:ext cx="3334969" cy="3353426"/>
            <a:chOff x="3880800" y="1634400"/>
            <a:chExt cx="4320000" cy="4320000"/>
          </a:xfrm>
        </p:grpSpPr>
        <p:sp>
          <p:nvSpPr>
            <p:cNvPr id="20" name="Arco de bloque 20"/>
            <p:cNvSpPr/>
            <p:nvPr/>
          </p:nvSpPr>
          <p:spPr>
            <a:xfrm rot="5400000">
              <a:off x="3880800" y="1634400"/>
              <a:ext cx="4320000" cy="4320000"/>
            </a:xfrm>
            <a:prstGeom prst="blockArc">
              <a:avLst>
                <a:gd name="adj1" fmla="val 10800000"/>
                <a:gd name="adj2" fmla="val 16183653"/>
                <a:gd name="adj3" fmla="val 8271"/>
              </a:avLst>
            </a:prstGeom>
            <a:gradFill>
              <a:gsLst>
                <a:gs pos="0">
                  <a:srgbClr val="9D5A37"/>
                </a:gs>
                <a:gs pos="50000">
                  <a:srgbClr val="A04F1A"/>
                </a:gs>
                <a:gs pos="100000">
                  <a:srgbClr val="95450F"/>
                </a:gs>
              </a:gsLst>
            </a:gradFill>
            <a:ln>
              <a:solidFill>
                <a:srgbClr val="6B3109"/>
              </a:solidFill>
            </a:ln>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endParaRPr lang="es-CL" altLang="es-CL">
                <a:solidFill>
                  <a:srgbClr val="FFFFFF"/>
                </a:solidFill>
              </a:endParaRPr>
            </a:p>
          </p:txBody>
        </p:sp>
        <p:sp>
          <p:nvSpPr>
            <p:cNvPr id="21" name="CuadroTexto 21"/>
            <p:cNvSpPr txBox="1"/>
            <p:nvPr/>
          </p:nvSpPr>
          <p:spPr>
            <a:xfrm rot="2700000">
              <a:off x="4104000" y="1857600"/>
              <a:ext cx="3870000" cy="3870000"/>
            </a:xfrm>
            <a:prstGeom prst="rect">
              <a:avLst/>
            </a:prstGeom>
            <a:noFill/>
          </p:spPr>
          <p:txBody>
            <a:bodyPr spcFirstLastPara="1" wrap="none">
              <a:prstTxWarp prst="textArchUp">
                <a:avLst>
                  <a:gd name="adj" fmla="val 10804222"/>
                </a:avLst>
              </a:prstTxWarp>
              <a:spAutoFit/>
            </a:bodyPr>
            <a:lstStyle/>
            <a:p>
              <a:pPr algn="ctr">
                <a:defRPr/>
              </a:pPr>
              <a:r>
                <a:rPr lang="es-CL" dirty="0">
                  <a:solidFill>
                    <a:schemeClr val="bg1">
                      <a:lumMod val="95000"/>
                    </a:schemeClr>
                  </a:solidFill>
                  <a:latin typeface="Calibri" charset="0"/>
                  <a:ea typeface="Arial" charset="0"/>
                  <a:cs typeface="Arial" charset="0"/>
                </a:rPr>
                <a:t>Gobierno Digital</a:t>
              </a:r>
            </a:p>
          </p:txBody>
        </p:sp>
      </p:grpSp>
      <p:grpSp>
        <p:nvGrpSpPr>
          <p:cNvPr id="22" name="Grupo 22"/>
          <p:cNvGrpSpPr>
            <a:grpSpLocks/>
          </p:cNvGrpSpPr>
          <p:nvPr/>
        </p:nvGrpSpPr>
        <p:grpSpPr bwMode="auto">
          <a:xfrm>
            <a:off x="4925264" y="2344735"/>
            <a:ext cx="2779413" cy="2794796"/>
            <a:chOff x="4239462" y="1992646"/>
            <a:chExt cx="3600000" cy="3600000"/>
          </a:xfrm>
        </p:grpSpPr>
        <p:sp>
          <p:nvSpPr>
            <p:cNvPr id="23" name="Circular 13"/>
            <p:cNvSpPr/>
            <p:nvPr/>
          </p:nvSpPr>
          <p:spPr>
            <a:xfrm rot="19800000">
              <a:off x="4239462" y="1992646"/>
              <a:ext cx="3600000" cy="3600000"/>
            </a:xfrm>
            <a:prstGeom prst="blockArc">
              <a:avLst>
                <a:gd name="adj1" fmla="val 14399970"/>
                <a:gd name="adj2" fmla="val 0"/>
                <a:gd name="adj3" fmla="val 25000"/>
              </a:avLst>
            </a:prstGeom>
            <a:gradFill>
              <a:gsLst>
                <a:gs pos="0">
                  <a:srgbClr val="714128"/>
                </a:gs>
                <a:gs pos="50000">
                  <a:srgbClr val="733913"/>
                </a:gs>
                <a:gs pos="100000">
                  <a:srgbClr val="6B320B"/>
                </a:gs>
              </a:gsLst>
            </a:gradFill>
            <a:ln>
              <a:solidFill>
                <a:srgbClr val="462006"/>
              </a:solidFill>
            </a:ln>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endParaRPr lang="es-CL" altLang="es-CL">
                <a:solidFill>
                  <a:srgbClr val="FFFFFF"/>
                </a:solidFill>
              </a:endParaRPr>
            </a:p>
          </p:txBody>
        </p:sp>
        <p:sp>
          <p:nvSpPr>
            <p:cNvPr id="24" name="CuadroTexto 24"/>
            <p:cNvSpPr txBox="1"/>
            <p:nvPr/>
          </p:nvSpPr>
          <p:spPr>
            <a:xfrm>
              <a:off x="4693957" y="2442648"/>
              <a:ext cx="2700000" cy="2700000"/>
            </a:xfrm>
            <a:prstGeom prst="rect">
              <a:avLst/>
            </a:prstGeom>
            <a:noFill/>
          </p:spPr>
          <p:txBody>
            <a:bodyPr spcFirstLastPara="1" wrap="none">
              <a:prstTxWarp prst="textArchUp">
                <a:avLst>
                  <a:gd name="adj" fmla="val 10804222"/>
                </a:avLst>
              </a:prstTxWarp>
              <a:spAutoFit/>
            </a:bodyPr>
            <a:lstStyle/>
            <a:p>
              <a:pPr algn="ctr">
                <a:defRPr/>
              </a:pPr>
              <a:r>
                <a:rPr lang="es-CL" dirty="0">
                  <a:solidFill>
                    <a:schemeClr val="bg1">
                      <a:lumMod val="95000"/>
                    </a:schemeClr>
                  </a:solidFill>
                  <a:latin typeface="Calibri" charset="0"/>
                  <a:ea typeface="Arial" charset="0"/>
                  <a:cs typeface="Arial" charset="0"/>
                </a:rPr>
                <a:t>Experiencia del Cliente</a:t>
              </a:r>
            </a:p>
          </p:txBody>
        </p:sp>
      </p:grpSp>
      <p:grpSp>
        <p:nvGrpSpPr>
          <p:cNvPr id="25" name="Grupo 25"/>
          <p:cNvGrpSpPr>
            <a:grpSpLocks/>
          </p:cNvGrpSpPr>
          <p:nvPr/>
        </p:nvGrpSpPr>
        <p:grpSpPr bwMode="auto">
          <a:xfrm>
            <a:off x="4925264" y="2344735"/>
            <a:ext cx="2779413" cy="2794796"/>
            <a:chOff x="4239462" y="1992646"/>
            <a:chExt cx="3600000" cy="3600000"/>
          </a:xfrm>
        </p:grpSpPr>
        <p:sp>
          <p:nvSpPr>
            <p:cNvPr id="26" name="Circular 17"/>
            <p:cNvSpPr/>
            <p:nvPr/>
          </p:nvSpPr>
          <p:spPr>
            <a:xfrm rot="5400000">
              <a:off x="4239462" y="1992646"/>
              <a:ext cx="3600000" cy="3600000"/>
            </a:xfrm>
            <a:prstGeom prst="blockArc">
              <a:avLst>
                <a:gd name="adj1" fmla="val 14390342"/>
                <a:gd name="adj2" fmla="val 0"/>
                <a:gd name="adj3" fmla="val 25000"/>
              </a:avLst>
            </a:prstGeom>
            <a:gradFill>
              <a:gsLst>
                <a:gs pos="0">
                  <a:srgbClr val="714128"/>
                </a:gs>
                <a:gs pos="50000">
                  <a:srgbClr val="733913"/>
                </a:gs>
                <a:gs pos="100000">
                  <a:srgbClr val="6B320B"/>
                </a:gs>
              </a:gsLst>
            </a:gradFill>
            <a:ln>
              <a:solidFill>
                <a:srgbClr val="462006"/>
              </a:solidFill>
            </a:ln>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endParaRPr lang="es-CL" altLang="es-CL">
                <a:solidFill>
                  <a:srgbClr val="FFFFFF"/>
                </a:solidFill>
              </a:endParaRPr>
            </a:p>
          </p:txBody>
        </p:sp>
        <p:sp>
          <p:nvSpPr>
            <p:cNvPr id="27" name="CuadroTexto 27"/>
            <p:cNvSpPr txBox="1"/>
            <p:nvPr/>
          </p:nvSpPr>
          <p:spPr>
            <a:xfrm rot="18000000">
              <a:off x="4596302" y="2352600"/>
              <a:ext cx="2880000" cy="2880000"/>
            </a:xfrm>
            <a:prstGeom prst="rect">
              <a:avLst/>
            </a:prstGeom>
            <a:noFill/>
          </p:spPr>
          <p:txBody>
            <a:bodyPr spcFirstLastPara="1" wrap="none">
              <a:prstTxWarp prst="textArchDown">
                <a:avLst/>
              </a:prstTxWarp>
              <a:spAutoFit/>
            </a:bodyPr>
            <a:lstStyle/>
            <a:p>
              <a:pPr algn="ctr">
                <a:defRPr/>
              </a:pPr>
              <a:r>
                <a:rPr lang="es-CL" dirty="0">
                  <a:solidFill>
                    <a:schemeClr val="bg1">
                      <a:lumMod val="95000"/>
                    </a:schemeClr>
                  </a:solidFill>
                  <a:latin typeface="Calibri" charset="0"/>
                  <a:ea typeface="Arial" charset="0"/>
                  <a:cs typeface="Arial" charset="0"/>
                </a:rPr>
                <a:t>Procesos Operacionales</a:t>
              </a:r>
            </a:p>
          </p:txBody>
        </p:sp>
      </p:grpSp>
      <p:grpSp>
        <p:nvGrpSpPr>
          <p:cNvPr id="28" name="Grupo 28"/>
          <p:cNvGrpSpPr>
            <a:grpSpLocks/>
          </p:cNvGrpSpPr>
          <p:nvPr/>
        </p:nvGrpSpPr>
        <p:grpSpPr bwMode="auto">
          <a:xfrm>
            <a:off x="4925264" y="2344735"/>
            <a:ext cx="2779413" cy="2794796"/>
            <a:chOff x="4239462" y="1992646"/>
            <a:chExt cx="3600000" cy="3600000"/>
          </a:xfrm>
        </p:grpSpPr>
        <p:sp>
          <p:nvSpPr>
            <p:cNvPr id="29" name="Circular 16"/>
            <p:cNvSpPr/>
            <p:nvPr/>
          </p:nvSpPr>
          <p:spPr>
            <a:xfrm rot="12600000">
              <a:off x="4239462" y="1992646"/>
              <a:ext cx="3600000" cy="3600000"/>
            </a:xfrm>
            <a:prstGeom prst="blockArc">
              <a:avLst>
                <a:gd name="adj1" fmla="val 14399980"/>
                <a:gd name="adj2" fmla="val 0"/>
                <a:gd name="adj3" fmla="val 25000"/>
              </a:avLst>
            </a:prstGeom>
            <a:gradFill>
              <a:gsLst>
                <a:gs pos="0">
                  <a:srgbClr val="714128"/>
                </a:gs>
                <a:gs pos="50000">
                  <a:srgbClr val="733913"/>
                </a:gs>
                <a:gs pos="100000">
                  <a:srgbClr val="6B320B"/>
                </a:gs>
              </a:gsLst>
            </a:gradFill>
            <a:ln>
              <a:solidFill>
                <a:srgbClr val="462006"/>
              </a:solidFill>
            </a:ln>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endParaRPr lang="es-CL" altLang="es-CL">
                <a:solidFill>
                  <a:srgbClr val="FFFFFF"/>
                </a:solidFill>
              </a:endParaRPr>
            </a:p>
          </p:txBody>
        </p:sp>
        <p:sp>
          <p:nvSpPr>
            <p:cNvPr id="30" name="CuadroTexto 30"/>
            <p:cNvSpPr txBox="1"/>
            <p:nvPr/>
          </p:nvSpPr>
          <p:spPr>
            <a:xfrm rot="3600000">
              <a:off x="4603956" y="2352600"/>
              <a:ext cx="2880000" cy="2880000"/>
            </a:xfrm>
            <a:prstGeom prst="rect">
              <a:avLst/>
            </a:prstGeom>
            <a:noFill/>
          </p:spPr>
          <p:txBody>
            <a:bodyPr spcFirstLastPara="1" wrap="none">
              <a:prstTxWarp prst="textArchDown">
                <a:avLst/>
              </a:prstTxWarp>
              <a:spAutoFit/>
            </a:bodyPr>
            <a:lstStyle/>
            <a:p>
              <a:pPr algn="ctr">
                <a:defRPr/>
              </a:pPr>
              <a:r>
                <a:rPr lang="es-CL" dirty="0">
                  <a:solidFill>
                    <a:schemeClr val="bg1">
                      <a:lumMod val="95000"/>
                    </a:schemeClr>
                  </a:solidFill>
                  <a:latin typeface="Calibri" charset="0"/>
                  <a:ea typeface="Arial" charset="0"/>
                  <a:cs typeface="Arial" charset="0"/>
                </a:rPr>
                <a:t>Modelos de Negocio</a:t>
              </a:r>
            </a:p>
          </p:txBody>
        </p:sp>
      </p:grpSp>
      <p:grpSp>
        <p:nvGrpSpPr>
          <p:cNvPr id="31" name="Grupo 32"/>
          <p:cNvGrpSpPr>
            <a:grpSpLocks/>
          </p:cNvGrpSpPr>
          <p:nvPr/>
        </p:nvGrpSpPr>
        <p:grpSpPr bwMode="auto">
          <a:xfrm>
            <a:off x="5639467" y="3066624"/>
            <a:ext cx="1390523" cy="1398220"/>
            <a:chOff x="5139464" y="2892648"/>
            <a:chExt cx="1800000" cy="1800000"/>
          </a:xfrm>
        </p:grpSpPr>
        <p:sp>
          <p:nvSpPr>
            <p:cNvPr id="32" name="Anillo 33"/>
            <p:cNvSpPr/>
            <p:nvPr/>
          </p:nvSpPr>
          <p:spPr>
            <a:xfrm>
              <a:off x="5139464" y="2892648"/>
              <a:ext cx="1800000" cy="1800000"/>
            </a:xfrm>
            <a:prstGeom prst="donut">
              <a:avLst>
                <a:gd name="adj" fmla="val 19433"/>
              </a:avLst>
            </a:prstGeom>
            <a:gradFill>
              <a:gsLst>
                <a:gs pos="0">
                  <a:srgbClr val="482A1A"/>
                </a:gs>
                <a:gs pos="50000">
                  <a:srgbClr val="4A250C"/>
                </a:gs>
                <a:gs pos="100000">
                  <a:srgbClr val="452007"/>
                </a:gs>
              </a:gsLst>
            </a:gradFill>
            <a:ln>
              <a:solidFill>
                <a:srgbClr val="1F0E03"/>
              </a:solidFill>
            </a:ln>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endParaRPr lang="es-CL" altLang="es-CL">
                <a:solidFill>
                  <a:srgbClr val="FFFFFF"/>
                </a:solidFill>
              </a:endParaRPr>
            </a:p>
          </p:txBody>
        </p:sp>
        <p:sp>
          <p:nvSpPr>
            <p:cNvPr id="33" name="CuadroTexto 34"/>
            <p:cNvSpPr txBox="1"/>
            <p:nvPr/>
          </p:nvSpPr>
          <p:spPr>
            <a:xfrm>
              <a:off x="5364462" y="3117646"/>
              <a:ext cx="1350000" cy="1350000"/>
            </a:xfrm>
            <a:prstGeom prst="rect">
              <a:avLst/>
            </a:prstGeom>
            <a:noFill/>
          </p:spPr>
          <p:txBody>
            <a:bodyPr spcFirstLastPara="1" wrap="none">
              <a:prstTxWarp prst="textArchUp">
                <a:avLst>
                  <a:gd name="adj" fmla="val 10804222"/>
                </a:avLst>
              </a:prstTxWarp>
              <a:spAutoFit/>
            </a:bodyPr>
            <a:lstStyle/>
            <a:p>
              <a:pPr algn="ctr">
                <a:defRPr/>
              </a:pPr>
              <a:r>
                <a:rPr lang="es-CL" dirty="0">
                  <a:solidFill>
                    <a:schemeClr val="bg1">
                      <a:lumMod val="95000"/>
                    </a:schemeClr>
                  </a:solidFill>
                  <a:latin typeface="Calibri" charset="0"/>
                  <a:ea typeface="Arial" charset="0"/>
                  <a:cs typeface="Arial" charset="0"/>
                </a:rPr>
                <a:t>Capacidades Digitales</a:t>
              </a:r>
            </a:p>
          </p:txBody>
        </p:sp>
      </p:grpSp>
      <p:pic>
        <p:nvPicPr>
          <p:cNvPr id="36" name="Picture 2" descr="GBSBGlobal marketing digital transformation mba GIF">
            <a:extLst>
              <a:ext uri="{FF2B5EF4-FFF2-40B4-BE49-F238E27FC236}">
                <a16:creationId xmlns:a16="http://schemas.microsoft.com/office/drawing/2014/main" id="{1ED00F61-5F5C-C1BE-F26B-BBB3133C58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0048" y="5123845"/>
            <a:ext cx="2819400" cy="952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41903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1"/>
          <p:cNvSpPr>
            <a:spLocks noGrp="1"/>
          </p:cNvSpPr>
          <p:nvPr>
            <p:ph type="title"/>
          </p:nvPr>
        </p:nvSpPr>
        <p:spPr>
          <a:xfrm>
            <a:off x="1403648" y="836712"/>
            <a:ext cx="6479421" cy="1049235"/>
          </a:xfrm>
        </p:spPr>
        <p:txBody>
          <a:bodyPr>
            <a:normAutofit/>
          </a:bodyPr>
          <a:lstStyle/>
          <a:p>
            <a:r>
              <a:rPr lang="es-CL" altLang="es-CL" dirty="0">
                <a:latin typeface="Arial" panose="020B0604020202020204" pitchFamily="34" charset="0"/>
                <a:cs typeface="Arial" panose="020B0604020202020204" pitchFamily="34" charset="0"/>
              </a:rPr>
              <a:t>Transformación?</a:t>
            </a:r>
          </a:p>
        </p:txBody>
      </p:sp>
      <p:sp>
        <p:nvSpPr>
          <p:cNvPr id="4" name="CuadroTexto 1"/>
          <p:cNvSpPr txBox="1">
            <a:spLocks noChangeArrowheads="1"/>
          </p:cNvSpPr>
          <p:nvPr/>
        </p:nvSpPr>
        <p:spPr bwMode="auto">
          <a:xfrm>
            <a:off x="1413214" y="1892295"/>
            <a:ext cx="4841230" cy="481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5750" indent="-28575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just">
              <a:buFont typeface="Arial" panose="020B0604020202020204" pitchFamily="34" charset="0"/>
              <a:buChar char="•"/>
            </a:pPr>
            <a:r>
              <a:rPr lang="es-CL" altLang="es-CL" dirty="0">
                <a:latin typeface="Arial" panose="020B0604020202020204" pitchFamily="34" charset="0"/>
              </a:rPr>
              <a:t>Muchas empresas dicen que están haciendo algo o trabajando en el tema.</a:t>
            </a:r>
          </a:p>
          <a:p>
            <a:pPr algn="just">
              <a:buFont typeface="Arial" panose="020B0604020202020204" pitchFamily="34" charset="0"/>
              <a:buChar char="•"/>
            </a:pPr>
            <a:r>
              <a:rPr lang="es-CL" altLang="es-CL" dirty="0">
                <a:latin typeface="Arial" panose="020B0604020202020204" pitchFamily="34" charset="0"/>
              </a:rPr>
              <a:t>La mayoría de empresas han hecho algo relacionado a optimizar sus procesos y utilizar “herramientas digitales”.</a:t>
            </a:r>
          </a:p>
          <a:p>
            <a:pPr algn="just">
              <a:buFont typeface="Arial" panose="020B0604020202020204" pitchFamily="34" charset="0"/>
              <a:buChar char="•"/>
            </a:pPr>
            <a:r>
              <a:rPr lang="es-CL" altLang="es-CL" dirty="0">
                <a:latin typeface="Arial" panose="020B0604020202020204" pitchFamily="34" charset="0"/>
              </a:rPr>
              <a:t>Todos los fabricantes, empresas y proveedores de tecnología dicen tener “la solución”.</a:t>
            </a:r>
          </a:p>
          <a:p>
            <a:pPr algn="just">
              <a:buFont typeface="Arial" panose="020B0604020202020204" pitchFamily="34" charset="0"/>
              <a:buChar char="•"/>
            </a:pPr>
            <a:r>
              <a:rPr lang="es-CL" altLang="es-CL" dirty="0">
                <a:latin typeface="Arial" panose="020B0604020202020204" pitchFamily="34" charset="0"/>
              </a:rPr>
              <a:t>A todo le podemos poner el apellido “digital”, “transformación”.</a:t>
            </a:r>
          </a:p>
          <a:p>
            <a:pPr algn="just">
              <a:buFont typeface="Arial" panose="020B0604020202020204" pitchFamily="34" charset="0"/>
              <a:buChar char="•"/>
            </a:pPr>
            <a:r>
              <a:rPr lang="es-CL" altLang="es-CL" dirty="0">
                <a:latin typeface="Arial" panose="020B0604020202020204" pitchFamily="34" charset="0"/>
              </a:rPr>
              <a:t>Qué ha cambiado para que una empresa deba ”transformarse”?</a:t>
            </a:r>
          </a:p>
          <a:p>
            <a:pPr algn="just">
              <a:buFont typeface="Arial" panose="020B0604020202020204" pitchFamily="34" charset="0"/>
              <a:buChar char="•"/>
            </a:pPr>
            <a:r>
              <a:rPr lang="es-CL" altLang="es-CL" dirty="0">
                <a:latin typeface="Arial" panose="020B0604020202020204" pitchFamily="34" charset="0"/>
              </a:rPr>
              <a:t>En qué nos transformamos?</a:t>
            </a:r>
          </a:p>
          <a:p>
            <a:pPr algn="just">
              <a:buFont typeface="Arial" panose="020B0604020202020204" pitchFamily="34" charset="0"/>
              <a:buChar char="•"/>
            </a:pPr>
            <a:endParaRPr lang="es-CL" altLang="es-CL" dirty="0">
              <a:latin typeface="Arial" panose="020B0604020202020204" pitchFamily="34" charset="0"/>
            </a:endParaRPr>
          </a:p>
          <a:p>
            <a:pPr algn="just">
              <a:buFont typeface="Arial" panose="020B0604020202020204" pitchFamily="34" charset="0"/>
              <a:buChar char="•"/>
            </a:pPr>
            <a:endParaRPr lang="es-CL" altLang="es-CL" dirty="0">
              <a:latin typeface="Arial" panose="020B0604020202020204" pitchFamily="34" charset="0"/>
            </a:endParaRPr>
          </a:p>
          <a:p>
            <a:pPr algn="just"/>
            <a:endParaRPr lang="es-CL" altLang="es-CL" sz="1600" dirty="0">
              <a:latin typeface="Arial" panose="020B0604020202020204" pitchFamily="34" charset="0"/>
            </a:endParaRPr>
          </a:p>
          <a:p>
            <a:pPr algn="just"/>
            <a:endParaRPr lang="es-CL" altLang="es-CL" sz="1600" dirty="0">
              <a:latin typeface="Arial" panose="020B0604020202020204" pitchFamily="34" charset="0"/>
            </a:endParaRPr>
          </a:p>
        </p:txBody>
      </p:sp>
      <p:pic>
        <p:nvPicPr>
          <p:cNvPr id="2" name="Picture 1"/>
          <p:cNvPicPr>
            <a:picLocks noChangeAspect="1"/>
          </p:cNvPicPr>
          <p:nvPr/>
        </p:nvPicPr>
        <p:blipFill>
          <a:blip r:embed="rId2"/>
          <a:stretch>
            <a:fillRect/>
          </a:stretch>
        </p:blipFill>
        <p:spPr>
          <a:xfrm>
            <a:off x="6385982" y="1772816"/>
            <a:ext cx="2311400" cy="3517900"/>
          </a:xfrm>
          <a:prstGeom prst="rect">
            <a:avLst/>
          </a:prstGeom>
        </p:spPr>
      </p:pic>
    </p:spTree>
    <p:extLst>
      <p:ext uri="{BB962C8B-B14F-4D97-AF65-F5344CB8AC3E}">
        <p14:creationId xmlns:p14="http://schemas.microsoft.com/office/powerpoint/2010/main" val="12652007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79CE34-7C9F-7550-92D2-96A270A31339}"/>
              </a:ext>
            </a:extLst>
          </p:cNvPr>
          <p:cNvGraphicFramePr>
            <a:graphicFrameLocks noChangeAspect="1"/>
          </p:cNvGraphicFramePr>
          <p:nvPr>
            <p:custDataLst>
              <p:tags r:id="rId1"/>
            </p:custDataLst>
            <p:extLst>
              <p:ext uri="{D42A27DB-BD31-4B8C-83A1-F6EECF244321}">
                <p14:modId xmlns:p14="http://schemas.microsoft.com/office/powerpoint/2010/main" val="1580772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233" imgH="233" progId="TCLayout.ActiveDocument.1">
                  <p:embed/>
                </p:oleObj>
              </mc:Choice>
              <mc:Fallback>
                <p:oleObj name="Diapositiva de think-cell" r:id="rId3" imgW="233" imgH="233" progId="TCLayout.ActiveDocument.1">
                  <p:embed/>
                  <p:pic>
                    <p:nvPicPr>
                      <p:cNvPr id="3" name="think-cell data - do not delete" hidden="1">
                        <a:extLst>
                          <a:ext uri="{FF2B5EF4-FFF2-40B4-BE49-F238E27FC236}">
                            <a16:creationId xmlns:a16="http://schemas.microsoft.com/office/drawing/2014/main" id="{4179CE34-7C9F-7550-92D2-96A270A313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ítulo 1"/>
          <p:cNvSpPr>
            <a:spLocks noGrp="1"/>
          </p:cNvSpPr>
          <p:nvPr>
            <p:ph type="title"/>
          </p:nvPr>
        </p:nvSpPr>
        <p:spPr>
          <a:xfrm>
            <a:off x="1403648" y="836712"/>
            <a:ext cx="6479421" cy="1049235"/>
          </a:xfrm>
        </p:spPr>
        <p:txBody>
          <a:bodyPr vert="horz">
            <a:normAutofit/>
          </a:bodyPr>
          <a:lstStyle/>
          <a:p>
            <a:r>
              <a:rPr lang="es-CL" altLang="es-CL" dirty="0">
                <a:latin typeface="Arial" panose="020B0604020202020204" pitchFamily="34" charset="0"/>
                <a:cs typeface="Arial" panose="020B0604020202020204" pitchFamily="34" charset="0"/>
              </a:rPr>
              <a:t>Digitalización y TD</a:t>
            </a:r>
          </a:p>
        </p:txBody>
      </p:sp>
      <p:sp>
        <p:nvSpPr>
          <p:cNvPr id="2" name="CuadroTexto 1">
            <a:extLst>
              <a:ext uri="{FF2B5EF4-FFF2-40B4-BE49-F238E27FC236}">
                <a16:creationId xmlns:a16="http://schemas.microsoft.com/office/drawing/2014/main" id="{523894EA-25CC-ADE5-3D38-14DFA197C080}"/>
              </a:ext>
            </a:extLst>
          </p:cNvPr>
          <p:cNvSpPr txBox="1">
            <a:spLocks noChangeArrowheads="1"/>
          </p:cNvSpPr>
          <p:nvPr/>
        </p:nvSpPr>
        <p:spPr bwMode="auto">
          <a:xfrm>
            <a:off x="1403648" y="1885946"/>
            <a:ext cx="7632848" cy="3343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just"/>
            <a:r>
              <a:rPr lang="es-CL" altLang="es-CL" dirty="0">
                <a:latin typeface="+mj-lt"/>
              </a:rPr>
              <a:t>La</a:t>
            </a:r>
            <a:r>
              <a:rPr lang="es-ES" altLang="es-CL" dirty="0">
                <a:latin typeface="+mj-lt"/>
              </a:rPr>
              <a:t> Digitalización </a:t>
            </a:r>
            <a:r>
              <a:rPr lang="es-ES" dirty="0">
                <a:latin typeface="+mj-lt"/>
              </a:rPr>
              <a:t>es el proceso de convertir información y procesos físicos a un formato digital</a:t>
            </a:r>
            <a:r>
              <a:rPr lang="es-CL" dirty="0">
                <a:latin typeface="+mj-lt"/>
              </a:rPr>
              <a:t>, mientras que la Transformación Digital implica un cambio estratégico profundo.</a:t>
            </a:r>
          </a:p>
          <a:p>
            <a:pPr algn="just"/>
            <a:endParaRPr lang="es-CL" altLang="es-CL" dirty="0">
              <a:latin typeface="+mj-lt"/>
            </a:endParaRPr>
          </a:p>
          <a:p>
            <a:pPr algn="just"/>
            <a:r>
              <a:rPr lang="es-ES" dirty="0">
                <a:latin typeface="+mj-lt"/>
              </a:rPr>
              <a:t>La Digitalización se enfoca en convertir datos analógicos a digitales, generalmente en procesos aislados o áreas específicas, con un objetivo principal de eficiencia u optimización de tareas.</a:t>
            </a:r>
          </a:p>
          <a:p>
            <a:pPr algn="just"/>
            <a:endParaRPr lang="es-ES" dirty="0">
              <a:latin typeface="+mj-lt"/>
            </a:endParaRPr>
          </a:p>
          <a:p>
            <a:pPr algn="just"/>
            <a:r>
              <a:rPr lang="es-ES" dirty="0">
                <a:latin typeface="+mj-lt"/>
              </a:rPr>
              <a:t>La digitalización es un componente esencial de la transformación digital, suele ser un primer paso en las organizaciones. Como elemento habilitante de un cambio mayor, pero no es el fin en sí mismo; la transformación requiere una visión holística y un cambio cultural. </a:t>
            </a:r>
          </a:p>
          <a:p>
            <a:pPr algn="just"/>
            <a:endParaRPr lang="es-CL" altLang="es-CL" sz="1600" dirty="0">
              <a:latin typeface="+mj-lt"/>
            </a:endParaRPr>
          </a:p>
        </p:txBody>
      </p:sp>
      <p:pic>
        <p:nvPicPr>
          <p:cNvPr id="4" name="Picture 10" descr="Design Encuestas Sticker by QuestionPro LATAM">
            <a:extLst>
              <a:ext uri="{FF2B5EF4-FFF2-40B4-BE49-F238E27FC236}">
                <a16:creationId xmlns:a16="http://schemas.microsoft.com/office/drawing/2014/main" id="{ED8143EE-9CF9-C307-D41E-3F81587934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70688" y="5339769"/>
            <a:ext cx="1540233" cy="136303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71CC8A-7DE6-8302-C7F2-2629BAB1942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B6B3B6-9505-57C3-F09F-D6C8BE888B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233" imgH="233" progId="TCLayout.ActiveDocument.1">
                  <p:embed/>
                </p:oleObj>
              </mc:Choice>
              <mc:Fallback>
                <p:oleObj name="Diapositiva de think-cell" r:id="rId3" imgW="233" imgH="233" progId="TCLayout.ActiveDocument.1">
                  <p:embed/>
                  <p:pic>
                    <p:nvPicPr>
                      <p:cNvPr id="3" name="think-cell data - do not delete" hidden="1">
                        <a:extLst>
                          <a:ext uri="{FF2B5EF4-FFF2-40B4-BE49-F238E27FC236}">
                            <a16:creationId xmlns:a16="http://schemas.microsoft.com/office/drawing/2014/main" id="{E1B6B3B6-9505-57C3-F09F-D6C8BE888B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338" name="CuadroTexto 1">
            <a:extLst>
              <a:ext uri="{FF2B5EF4-FFF2-40B4-BE49-F238E27FC236}">
                <a16:creationId xmlns:a16="http://schemas.microsoft.com/office/drawing/2014/main" id="{B7290125-3C01-6545-F6F3-431958B348FA}"/>
              </a:ext>
            </a:extLst>
          </p:cNvPr>
          <p:cNvSpPr txBox="1">
            <a:spLocks noChangeArrowheads="1"/>
          </p:cNvSpPr>
          <p:nvPr/>
        </p:nvSpPr>
        <p:spPr bwMode="auto">
          <a:xfrm>
            <a:off x="1403648" y="1885947"/>
            <a:ext cx="7632848" cy="259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just"/>
            <a:r>
              <a:rPr lang="es-CL" altLang="es-CL" dirty="0">
                <a:latin typeface="Arial" panose="020B0604020202020204" pitchFamily="34" charset="0"/>
              </a:rPr>
              <a:t>El término transformación se refiere a un cambio fundamental en los negocios del día a día de una organización, desde los tipos de productos y servicios que produce hasta la forma en que los entrega. </a:t>
            </a:r>
          </a:p>
          <a:p>
            <a:pPr algn="just"/>
            <a:endParaRPr lang="es-CL" altLang="es-CL" dirty="0">
              <a:latin typeface="Arial" panose="020B0604020202020204" pitchFamily="34" charset="0"/>
            </a:endParaRPr>
          </a:p>
          <a:p>
            <a:pPr algn="just"/>
            <a:r>
              <a:rPr lang="es-CL" altLang="es-CL" dirty="0">
                <a:latin typeface="Arial" panose="020B0604020202020204" pitchFamily="34" charset="0"/>
              </a:rPr>
              <a:t>Una organización en la necesidad de una transformación por lo general responde a un cambio en el mercado y a la demanda de los consumidores por un producto o servicio</a:t>
            </a:r>
          </a:p>
          <a:p>
            <a:pPr algn="just"/>
            <a:endParaRPr lang="es-CL" altLang="es-CL" dirty="0">
              <a:latin typeface="Arial" panose="020B0604020202020204" pitchFamily="34" charset="0"/>
            </a:endParaRPr>
          </a:p>
          <a:p>
            <a:pPr algn="just"/>
            <a:r>
              <a:rPr lang="es-CL" altLang="es-CL" dirty="0">
                <a:latin typeface="Arial" panose="020B0604020202020204" pitchFamily="34" charset="0"/>
              </a:rPr>
              <a:t>La transformación digital reconstruye las dinámicas de las organizaciones para adaptarlas a las necesidades del presente y del futuro.</a:t>
            </a:r>
          </a:p>
        </p:txBody>
      </p:sp>
      <p:sp>
        <p:nvSpPr>
          <p:cNvPr id="5" name="Título 1">
            <a:extLst>
              <a:ext uri="{FF2B5EF4-FFF2-40B4-BE49-F238E27FC236}">
                <a16:creationId xmlns:a16="http://schemas.microsoft.com/office/drawing/2014/main" id="{4DFEF87D-C739-F522-31D4-992923699B0D}"/>
              </a:ext>
            </a:extLst>
          </p:cNvPr>
          <p:cNvSpPr>
            <a:spLocks noGrp="1"/>
          </p:cNvSpPr>
          <p:nvPr>
            <p:ph type="title"/>
          </p:nvPr>
        </p:nvSpPr>
        <p:spPr>
          <a:xfrm>
            <a:off x="1403648" y="836712"/>
            <a:ext cx="6479421" cy="1049235"/>
          </a:xfrm>
        </p:spPr>
        <p:txBody>
          <a:bodyPr vert="horz">
            <a:normAutofit/>
          </a:bodyPr>
          <a:lstStyle/>
          <a:p>
            <a:r>
              <a:rPr lang="es-CL" altLang="es-CL" dirty="0">
                <a:latin typeface="Arial" panose="020B0604020202020204" pitchFamily="34" charset="0"/>
                <a:cs typeface="Arial" panose="020B0604020202020204" pitchFamily="34" charset="0"/>
              </a:rPr>
              <a:t>TD y Modelo de Negocio</a:t>
            </a:r>
          </a:p>
        </p:txBody>
      </p:sp>
    </p:spTree>
    <p:extLst>
      <p:ext uri="{BB962C8B-B14F-4D97-AF65-F5344CB8AC3E}">
        <p14:creationId xmlns:p14="http://schemas.microsoft.com/office/powerpoint/2010/main" val="18439289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572733F-EDFC-8235-296C-2D0E11124D7A}"/>
              </a:ext>
            </a:extLst>
          </p:cNvPr>
          <p:cNvGraphicFramePr>
            <a:graphicFrameLocks noChangeAspect="1"/>
          </p:cNvGraphicFramePr>
          <p:nvPr>
            <p:custDataLst>
              <p:tags r:id="rId1"/>
            </p:custDataLst>
            <p:extLst>
              <p:ext uri="{D42A27DB-BD31-4B8C-83A1-F6EECF244321}">
                <p14:modId xmlns:p14="http://schemas.microsoft.com/office/powerpoint/2010/main" val="2593106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233" imgH="233" progId="TCLayout.ActiveDocument.1">
                  <p:embed/>
                </p:oleObj>
              </mc:Choice>
              <mc:Fallback>
                <p:oleObj name="Diapositiva de think-cell" r:id="rId4" imgW="233" imgH="233" progId="TCLayout.ActiveDocument.1">
                  <p:embed/>
                  <p:pic>
                    <p:nvPicPr>
                      <p:cNvPr id="6" name="think-cell data - do not delete" hidden="1">
                        <a:extLst>
                          <a:ext uri="{FF2B5EF4-FFF2-40B4-BE49-F238E27FC236}">
                            <a16:creationId xmlns:a16="http://schemas.microsoft.com/office/drawing/2014/main" id="{E572733F-EDFC-8235-296C-2D0E11124D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9" name="Group 8"/>
          <p:cNvGrpSpPr>
            <a:grpSpLocks noGrp="1" noUngrp="1" noRot="1" noChangeAspect="1" noMove="1" noResize="1"/>
          </p:cNvGrpSpPr>
          <p:nvPr>
            <p:extLst>
              <p:ext uri="{386F3935-93C4-4BCD-93E2-E3B085C9AB24}">
                <p16:designElem xmlns:p16="http://schemas.microsoft.com/office/powerpoint/2015/main" val="1"/>
              </p:ext>
            </p:extLst>
          </p:nvPr>
        </p:nvGrpSpPr>
        <p:grpSpPr>
          <a:xfrm>
            <a:off x="4570808" y="2182138"/>
            <a:ext cx="3723054" cy="3290538"/>
            <a:chOff x="6094411" y="2182138"/>
            <a:chExt cx="4964072" cy="3290538"/>
          </a:xfrm>
        </p:grpSpPr>
        <p:sp>
          <p:nvSpPr>
            <p:cNvPr id="10" name="Rectangle 9"/>
            <p:cNvSpPr/>
            <p:nvPr>
              <p:extLst>
                <p:ext uri="{386F3935-93C4-4BCD-93E2-E3B085C9AB24}">
                  <p16:designElem xmlns:p16="http://schemas.microsoft.com/office/powerpoint/2015/main" val="1"/>
                </p:ext>
              </p:extLst>
            </p:nvPr>
          </p:nvSpPr>
          <p:spPr>
            <a:xfrm>
              <a:off x="6094411" y="2182138"/>
              <a:ext cx="4964072" cy="3290538"/>
            </a:xfrm>
            <a:prstGeom prst="rect">
              <a:avLst/>
            </a:prstGeom>
            <a:gradFill>
              <a:gsLst>
                <a:gs pos="0">
                  <a:schemeClr val="bg2">
                    <a:lumMod val="10000"/>
                  </a:schemeClr>
                </a:gs>
                <a:gs pos="100000">
                  <a:schemeClr val="bg2">
                    <a:lumMod val="10000"/>
                  </a:schemeClr>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prstMaterial="matte">
              <a:bevelT w="133350" h="50800" prst="divo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p:extLst>
                <p:ext uri="{386F3935-93C4-4BCD-93E2-E3B085C9AB24}">
                  <p16:designElem xmlns:p16="http://schemas.microsoft.com/office/powerpoint/2015/main" val="1"/>
                </p:ext>
              </p:extLst>
            </p:nvPr>
          </p:nvSpPr>
          <p:spPr>
            <a:xfrm>
              <a:off x="6263318" y="2341260"/>
              <a:ext cx="4631437" cy="2970886"/>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2" name="Picture 1"/>
          <p:cNvPicPr>
            <a:picLocks noChangeAspect="1"/>
          </p:cNvPicPr>
          <p:nvPr/>
        </p:nvPicPr>
        <p:blipFill rotWithShape="1">
          <a:blip r:embed="rId6"/>
          <a:srcRect l="10115" r="9766" b="-1"/>
          <a:stretch/>
        </p:blipFill>
        <p:spPr>
          <a:xfrm>
            <a:off x="4934901" y="2662991"/>
            <a:ext cx="2994867" cy="2329689"/>
          </a:xfrm>
          <a:prstGeom prst="rect">
            <a:avLst/>
          </a:prstGeom>
        </p:spPr>
      </p:pic>
      <p:sp>
        <p:nvSpPr>
          <p:cNvPr id="3" name="Título 1"/>
          <p:cNvSpPr>
            <a:spLocks noGrp="1"/>
          </p:cNvSpPr>
          <p:nvPr>
            <p:ph type="title"/>
          </p:nvPr>
        </p:nvSpPr>
        <p:spPr>
          <a:xfrm>
            <a:off x="1364842" y="813436"/>
            <a:ext cx="7140118" cy="1049235"/>
          </a:xfrm>
        </p:spPr>
        <p:txBody>
          <a:bodyPr vert="horz" lIns="91440" tIns="45720" rIns="91440" bIns="45720" rtlCol="0" anchor="b">
            <a:normAutofit/>
          </a:bodyPr>
          <a:lstStyle/>
          <a:p>
            <a:pPr defTabSz="914400"/>
            <a:r>
              <a:rPr lang="en-US" altLang="es-CL" dirty="0"/>
              <a:t>TD y Modelo de Negocio</a:t>
            </a:r>
          </a:p>
        </p:txBody>
      </p:sp>
      <p:sp>
        <p:nvSpPr>
          <p:cNvPr id="4" name="CuadroTexto 1"/>
          <p:cNvSpPr txBox="1">
            <a:spLocks noChangeArrowheads="1"/>
          </p:cNvSpPr>
          <p:nvPr/>
        </p:nvSpPr>
        <p:spPr bwMode="auto">
          <a:xfrm>
            <a:off x="395536" y="1980794"/>
            <a:ext cx="4033972" cy="454455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t">
            <a:noAutofit/>
          </a:bodyPr>
          <a:lstStyle>
            <a:lvl1pPr marL="285750" indent="-28575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57150" indent="0" eaLnBrk="1" hangingPunct="1">
              <a:lnSpc>
                <a:spcPct val="110000"/>
              </a:lnSpc>
              <a:spcAft>
                <a:spcPts val="600"/>
              </a:spcAft>
              <a:buClr>
                <a:schemeClr val="accent1"/>
              </a:buClr>
              <a:buSzPct val="100000"/>
            </a:pPr>
            <a:r>
              <a:rPr lang="en-US" altLang="es-CL" sz="1600" dirty="0">
                <a:latin typeface="+mn-lt"/>
                <a:cs typeface="+mn-cs"/>
              </a:rPr>
              <a:t>Cuando pensamos </a:t>
            </a:r>
            <a:r>
              <a:rPr lang="en-US" altLang="es-CL" sz="1600" dirty="0" err="1">
                <a:latin typeface="+mn-lt"/>
                <a:cs typeface="+mn-cs"/>
              </a:rPr>
              <a:t>en</a:t>
            </a:r>
            <a:r>
              <a:rPr lang="en-US" altLang="es-CL" sz="1600" dirty="0">
                <a:latin typeface="+mn-lt"/>
                <a:cs typeface="+mn-cs"/>
              </a:rPr>
              <a:t> </a:t>
            </a:r>
            <a:r>
              <a:rPr lang="en-US" altLang="es-CL" sz="1600" dirty="0" err="1">
                <a:latin typeface="+mn-lt"/>
                <a:cs typeface="+mn-cs"/>
              </a:rPr>
              <a:t>cambiar</a:t>
            </a:r>
            <a:r>
              <a:rPr lang="en-US" altLang="es-CL" sz="1600" dirty="0">
                <a:latin typeface="+mn-lt"/>
                <a:cs typeface="+mn-cs"/>
              </a:rPr>
              <a:t> un Modelo de Negocios, ¿</a:t>
            </a:r>
            <a:r>
              <a:rPr lang="en-US" altLang="es-CL" sz="1600" dirty="0" err="1">
                <a:latin typeface="+mn-lt"/>
                <a:cs typeface="+mn-cs"/>
              </a:rPr>
              <a:t>Qué</a:t>
            </a:r>
            <a:r>
              <a:rPr lang="en-US" altLang="es-CL" sz="1600" dirty="0">
                <a:latin typeface="+mn-lt"/>
                <a:cs typeface="+mn-cs"/>
              </a:rPr>
              <a:t> imaginamos primero?</a:t>
            </a:r>
          </a:p>
          <a:p>
            <a:pPr lvl="1" indent="-228600" eaLnBrk="1" hangingPunct="1">
              <a:lnSpc>
                <a:spcPct val="110000"/>
              </a:lnSpc>
              <a:spcAft>
                <a:spcPts val="600"/>
              </a:spcAft>
              <a:buClr>
                <a:schemeClr val="accent1"/>
              </a:buClr>
              <a:buSzPct val="100000"/>
              <a:buFont typeface="Arial" panose="020B0604020202020204" pitchFamily="34" charset="0"/>
              <a:buChar char="•"/>
            </a:pPr>
            <a:r>
              <a:rPr lang="en-US" altLang="es-CL" sz="1600" dirty="0">
                <a:latin typeface="+mn-lt"/>
                <a:cs typeface="+mn-cs"/>
              </a:rPr>
              <a:t>Un producto? </a:t>
            </a:r>
          </a:p>
          <a:p>
            <a:pPr lvl="1" indent="-228600" eaLnBrk="1" hangingPunct="1">
              <a:lnSpc>
                <a:spcPct val="110000"/>
              </a:lnSpc>
              <a:spcAft>
                <a:spcPts val="600"/>
              </a:spcAft>
              <a:buClr>
                <a:schemeClr val="accent1"/>
              </a:buClr>
              <a:buSzPct val="100000"/>
              <a:buFont typeface="Arial" panose="020B0604020202020204" pitchFamily="34" charset="0"/>
              <a:buChar char="•"/>
            </a:pPr>
            <a:r>
              <a:rPr lang="en-US" altLang="es-CL" sz="1600" dirty="0">
                <a:latin typeface="+mn-lt"/>
                <a:cs typeface="+mn-cs"/>
              </a:rPr>
              <a:t>Un servicio? </a:t>
            </a:r>
          </a:p>
          <a:p>
            <a:pPr lvl="1" indent="-228600" eaLnBrk="1" hangingPunct="1">
              <a:lnSpc>
                <a:spcPct val="110000"/>
              </a:lnSpc>
              <a:spcAft>
                <a:spcPts val="600"/>
              </a:spcAft>
              <a:buClr>
                <a:schemeClr val="accent1"/>
              </a:buClr>
              <a:buSzPct val="100000"/>
              <a:buFont typeface="Arial" panose="020B0604020202020204" pitchFamily="34" charset="0"/>
              <a:buChar char="•"/>
            </a:pPr>
            <a:r>
              <a:rPr lang="en-US" altLang="es-CL" sz="1600" dirty="0">
                <a:latin typeface="+mn-lt"/>
                <a:cs typeface="+mn-cs"/>
              </a:rPr>
              <a:t>Una </a:t>
            </a:r>
            <a:r>
              <a:rPr lang="en-US" altLang="es-CL" sz="1600" dirty="0" err="1">
                <a:latin typeface="+mn-lt"/>
                <a:cs typeface="+mn-cs"/>
              </a:rPr>
              <a:t>capacidad</a:t>
            </a:r>
            <a:r>
              <a:rPr lang="en-US" altLang="es-CL" sz="1600" dirty="0">
                <a:latin typeface="+mn-lt"/>
                <a:cs typeface="+mn-cs"/>
              </a:rPr>
              <a:t>?</a:t>
            </a:r>
          </a:p>
          <a:p>
            <a:pPr lvl="1" indent="-228600" eaLnBrk="1" hangingPunct="1">
              <a:lnSpc>
                <a:spcPct val="110000"/>
              </a:lnSpc>
              <a:spcAft>
                <a:spcPts val="600"/>
              </a:spcAft>
              <a:buClr>
                <a:schemeClr val="accent1"/>
              </a:buClr>
              <a:buSzPct val="100000"/>
              <a:buFont typeface="Arial" panose="020B0604020202020204" pitchFamily="34" charset="0"/>
              <a:buChar char="•"/>
            </a:pPr>
            <a:r>
              <a:rPr lang="en-US" altLang="es-CL" sz="1600" dirty="0">
                <a:latin typeface="+mn-lt"/>
                <a:cs typeface="+mn-cs"/>
              </a:rPr>
              <a:t>Un </a:t>
            </a:r>
            <a:r>
              <a:rPr lang="en-US" altLang="es-CL" sz="1600" dirty="0" err="1">
                <a:latin typeface="+mn-lt"/>
                <a:cs typeface="+mn-cs"/>
              </a:rPr>
              <a:t>proceso</a:t>
            </a:r>
            <a:r>
              <a:rPr lang="en-US" altLang="es-CL" sz="1600" dirty="0">
                <a:latin typeface="+mn-lt"/>
                <a:cs typeface="+mn-cs"/>
              </a:rPr>
              <a:t>?</a:t>
            </a:r>
          </a:p>
          <a:p>
            <a:pPr marL="57150" indent="0" eaLnBrk="1" hangingPunct="1">
              <a:lnSpc>
                <a:spcPct val="110000"/>
              </a:lnSpc>
              <a:spcAft>
                <a:spcPts val="600"/>
              </a:spcAft>
              <a:buClr>
                <a:schemeClr val="accent1"/>
              </a:buClr>
              <a:buSzPct val="100000"/>
            </a:pPr>
            <a:r>
              <a:rPr lang="en-US" altLang="es-CL" sz="1600" dirty="0">
                <a:latin typeface="+mn-lt"/>
                <a:cs typeface="+mn-cs"/>
              </a:rPr>
              <a:t>En realidad es todo, todas las interacciones que dan valor de principio a fin y todos los espacios en el medio</a:t>
            </a:r>
          </a:p>
          <a:p>
            <a:pPr marL="57150" indent="0" eaLnBrk="1" hangingPunct="1">
              <a:lnSpc>
                <a:spcPct val="110000"/>
              </a:lnSpc>
              <a:spcAft>
                <a:spcPts val="600"/>
              </a:spcAft>
              <a:buClr>
                <a:schemeClr val="accent1"/>
              </a:buClr>
              <a:buSzPct val="100000"/>
            </a:pPr>
            <a:r>
              <a:rPr lang="en-US" altLang="es-CL" sz="1600" dirty="0">
                <a:latin typeface="+mn-lt"/>
                <a:cs typeface="+mn-cs"/>
              </a:rPr>
              <a:t>La innovación del modelo de negocio es la que gatilla en gran medida una experiencia de </a:t>
            </a:r>
            <a:r>
              <a:rPr lang="en-US" altLang="es-CL" sz="1600" dirty="0" err="1">
                <a:latin typeface="+mn-lt"/>
                <a:cs typeface="+mn-cs"/>
              </a:rPr>
              <a:t>cliente</a:t>
            </a:r>
            <a:r>
              <a:rPr lang="en-US" altLang="es-CL" sz="1600" dirty="0">
                <a:latin typeface="+mn-lt"/>
                <a:cs typeface="+mn-cs"/>
              </a:rPr>
              <a:t> </a:t>
            </a:r>
            <a:r>
              <a:rPr lang="en-US" altLang="es-CL" sz="1600" dirty="0" err="1">
                <a:latin typeface="+mn-lt"/>
                <a:cs typeface="+mn-cs"/>
              </a:rPr>
              <a:t>disruptiva</a:t>
            </a:r>
            <a:r>
              <a:rPr lang="en-US" altLang="es-CL" sz="1600" dirty="0">
                <a:latin typeface="+mn-lt"/>
                <a:cs typeface="+mn-cs"/>
              </a:rPr>
              <a:t> y </a:t>
            </a:r>
            <a:r>
              <a:rPr lang="en-US" altLang="es-CL" sz="1600" dirty="0" err="1">
                <a:latin typeface="+mn-lt"/>
                <a:cs typeface="+mn-cs"/>
              </a:rPr>
              <a:t>exitosa</a:t>
            </a:r>
            <a:r>
              <a:rPr lang="en-US" altLang="es-CL" sz="1600" dirty="0">
                <a:latin typeface="+mn-lt"/>
                <a:cs typeface="+mn-cs"/>
              </a:rPr>
              <a:t>.</a:t>
            </a:r>
          </a:p>
          <a:p>
            <a:pPr indent="-228600" eaLnBrk="1" hangingPunct="1">
              <a:lnSpc>
                <a:spcPct val="110000"/>
              </a:lnSpc>
              <a:spcAft>
                <a:spcPts val="600"/>
              </a:spcAft>
              <a:buClr>
                <a:schemeClr val="accent1"/>
              </a:buClr>
              <a:buSzPct val="100000"/>
              <a:buFont typeface="Arial" panose="020B0604020202020204" pitchFamily="34" charset="0"/>
              <a:buChar char="•"/>
            </a:pPr>
            <a:endParaRPr lang="en-US" altLang="es-CL" sz="1600" dirty="0">
              <a:latin typeface="+mn-lt"/>
              <a:cs typeface="+mn-cs"/>
            </a:endParaRPr>
          </a:p>
          <a:p>
            <a:pPr indent="-228600" eaLnBrk="1" hangingPunct="1">
              <a:lnSpc>
                <a:spcPct val="110000"/>
              </a:lnSpc>
              <a:spcAft>
                <a:spcPts val="600"/>
              </a:spcAft>
              <a:buClr>
                <a:schemeClr val="accent1"/>
              </a:buClr>
              <a:buSzPct val="100000"/>
              <a:buFont typeface="Arial" panose="020B0604020202020204" pitchFamily="34" charset="0"/>
              <a:buChar char="•"/>
            </a:pPr>
            <a:endParaRPr lang="en-US" altLang="es-CL" sz="1400" dirty="0">
              <a:latin typeface="+mn-lt"/>
              <a:cs typeface="+mn-cs"/>
            </a:endParaRPr>
          </a:p>
        </p:txBody>
      </p:sp>
    </p:spTree>
    <p:extLst>
      <p:ext uri="{BB962C8B-B14F-4D97-AF65-F5344CB8AC3E}">
        <p14:creationId xmlns:p14="http://schemas.microsoft.com/office/powerpoint/2010/main" val="27026014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allery">
  <a:themeElements>
    <a:clrScheme name="Gallery">
      <a:dk1>
        <a:sysClr val="windowText" lastClr="000000"/>
      </a:dk1>
      <a:lt1>
        <a:sysClr val="window" lastClr="FFFFFF"/>
      </a:lt1>
      <a:dk2>
        <a:srgbClr val="454545"/>
      </a:dk2>
      <a:lt2>
        <a:srgbClr val="EDEBE7"/>
      </a:lt2>
      <a:accent1>
        <a:srgbClr val="5FA534"/>
      </a:accent1>
      <a:accent2>
        <a:srgbClr val="DCAB34"/>
      </a:accent2>
      <a:accent3>
        <a:srgbClr val="D26D23"/>
      </a:accent3>
      <a:accent4>
        <a:srgbClr val="972323"/>
      </a:accent4>
      <a:accent5>
        <a:srgbClr val="236797"/>
      </a:accent5>
      <a:accent6>
        <a:srgbClr val="2FB6C6"/>
      </a:accent6>
      <a:hlink>
        <a:srgbClr val="8FC639"/>
      </a:hlink>
      <a:folHlink>
        <a:srgbClr val="E7C2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Gallery">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allery" id="{BBFCD31E-59A1-489D-B089-A3EAD7CAE12E}" vid="{AC464412-510E-4F2B-8947-A0DDBD028997}"/>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allery</Template>
  <TotalTime>2111</TotalTime>
  <Words>1337</Words>
  <Application>Microsoft Office PowerPoint</Application>
  <PresentationFormat>Presentación en pantalla (4:3)</PresentationFormat>
  <Paragraphs>187</Paragraphs>
  <Slides>26</Slides>
  <Notes>10</Notes>
  <HiddenSlides>1</HiddenSlides>
  <MMClips>0</MMClips>
  <ScaleCrop>false</ScaleCrop>
  <HeadingPairs>
    <vt:vector size="8" baseType="variant">
      <vt:variant>
        <vt:lpstr>Fuentes usadas</vt:lpstr>
      </vt:variant>
      <vt:variant>
        <vt:i4>4</vt:i4>
      </vt:variant>
      <vt:variant>
        <vt:lpstr>Tema</vt:lpstr>
      </vt:variant>
      <vt:variant>
        <vt:i4>1</vt:i4>
      </vt:variant>
      <vt:variant>
        <vt:lpstr>Servidores OLE incrustados</vt:lpstr>
      </vt:variant>
      <vt:variant>
        <vt:i4>1</vt:i4>
      </vt:variant>
      <vt:variant>
        <vt:lpstr>Títulos de diapositiva</vt:lpstr>
      </vt:variant>
      <vt:variant>
        <vt:i4>26</vt:i4>
      </vt:variant>
    </vt:vector>
  </HeadingPairs>
  <TitlesOfParts>
    <vt:vector size="32" baseType="lpstr">
      <vt:lpstr>Arial</vt:lpstr>
      <vt:lpstr>Calibri</vt:lpstr>
      <vt:lpstr>Lato</vt:lpstr>
      <vt:lpstr>Wingdings</vt:lpstr>
      <vt:lpstr>Gallery</vt:lpstr>
      <vt:lpstr>Diapositiva de think-cell</vt:lpstr>
      <vt:lpstr>Transformación Digital</vt:lpstr>
      <vt:lpstr>Agenda</vt:lpstr>
      <vt:lpstr>Presentación de PowerPoint</vt:lpstr>
      <vt:lpstr>Presentación de PowerPoint</vt:lpstr>
      <vt:lpstr>Qué es la TD?</vt:lpstr>
      <vt:lpstr>Transformación?</vt:lpstr>
      <vt:lpstr>Digitalización y TD</vt:lpstr>
      <vt:lpstr>TD y Modelo de Negocio</vt:lpstr>
      <vt:lpstr>TD y Modelo de Negocio</vt:lpstr>
      <vt:lpstr>TD y Experiencia del Cliente</vt:lpstr>
      <vt:lpstr>TD y Experiencia del Cliente</vt:lpstr>
      <vt:lpstr>Por qué la Revolución Industrial se origina en Inglaterra?</vt:lpstr>
      <vt:lpstr>Las Capacidades Digitales</vt:lpstr>
      <vt:lpstr>TD como un proceso</vt:lpstr>
      <vt:lpstr>DOM</vt:lpstr>
      <vt:lpstr>TD y Datos</vt:lpstr>
      <vt:lpstr>TD y Cultura Organizacional</vt:lpstr>
      <vt:lpstr>Capacidades Digitales Tecnológicas</vt:lpstr>
      <vt:lpstr>Ola 1 - Capacidades y Resultados</vt:lpstr>
      <vt:lpstr>Ola 2 - Capacidades y Resultados</vt:lpstr>
      <vt:lpstr>Ola 3 - Capacidades y Resultados</vt:lpstr>
      <vt:lpstr>Technology Readiness Level</vt:lpstr>
      <vt:lpstr>Ecosistema Digital</vt:lpstr>
      <vt:lpstr>Lo que NO es Transformación Digital</vt:lpstr>
      <vt:lpstr>En qué nos podemos enfocar para partir?</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Bravo Navarro Sabina</dc:creator>
  <cp:lastModifiedBy>JC Montjoy</cp:lastModifiedBy>
  <cp:revision>132</cp:revision>
  <dcterms:created xsi:type="dcterms:W3CDTF">2016-07-12T21:11:46Z</dcterms:created>
  <dcterms:modified xsi:type="dcterms:W3CDTF">2026-01-07T22:40:04Z</dcterms:modified>
</cp:coreProperties>
</file>